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0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41"/>
  </p:notesMasterIdLst>
  <p:handoutMasterIdLst>
    <p:handoutMasterId r:id="rId42"/>
  </p:handoutMasterIdLst>
  <p:sldIdLst>
    <p:sldId id="445" r:id="rId5"/>
    <p:sldId id="752" r:id="rId6"/>
    <p:sldId id="792" r:id="rId7"/>
    <p:sldId id="761" r:id="rId8"/>
    <p:sldId id="788" r:id="rId9"/>
    <p:sldId id="799" r:id="rId10"/>
    <p:sldId id="798" r:id="rId11"/>
    <p:sldId id="801" r:id="rId12"/>
    <p:sldId id="802" r:id="rId13"/>
    <p:sldId id="800" r:id="rId14"/>
    <p:sldId id="803" r:id="rId15"/>
    <p:sldId id="804" r:id="rId16"/>
    <p:sldId id="770" r:id="rId17"/>
    <p:sldId id="771" r:id="rId18"/>
    <p:sldId id="772" r:id="rId19"/>
    <p:sldId id="769" r:id="rId20"/>
    <p:sldId id="808" r:id="rId21"/>
    <p:sldId id="805" r:id="rId22"/>
    <p:sldId id="810" r:id="rId23"/>
    <p:sldId id="811" r:id="rId24"/>
    <p:sldId id="820" r:id="rId25"/>
    <p:sldId id="813" r:id="rId26"/>
    <p:sldId id="814" r:id="rId27"/>
    <p:sldId id="821" r:id="rId28"/>
    <p:sldId id="823" r:id="rId29"/>
    <p:sldId id="824" r:id="rId30"/>
    <p:sldId id="773" r:id="rId31"/>
    <p:sldId id="776" r:id="rId32"/>
    <p:sldId id="825" r:id="rId33"/>
    <p:sldId id="819" r:id="rId34"/>
    <p:sldId id="791" r:id="rId35"/>
    <p:sldId id="828" r:id="rId36"/>
    <p:sldId id="827" r:id="rId37"/>
    <p:sldId id="826" r:id="rId38"/>
    <p:sldId id="817" r:id="rId39"/>
    <p:sldId id="759" r:id="rId40"/>
  </p:sldIdLst>
  <p:sldSz cx="12436475" cy="6994525"/>
  <p:notesSz cx="7010400" cy="9296400"/>
  <p:defaultTextStyle>
    <a:defPPr>
      <a:defRPr lang="en-US"/>
    </a:defPPr>
    <a:lvl1pPr marL="0" algn="l" defTabSz="555132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1pPr>
    <a:lvl2pPr marL="555132" algn="l" defTabSz="555132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2pPr>
    <a:lvl3pPr marL="1110264" algn="l" defTabSz="555132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3pPr>
    <a:lvl4pPr marL="1665397" algn="l" defTabSz="555132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4pPr>
    <a:lvl5pPr marL="2220529" algn="l" defTabSz="555132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5pPr>
    <a:lvl6pPr marL="2775661" algn="l" defTabSz="555132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6pPr>
    <a:lvl7pPr marL="3330793" algn="l" defTabSz="555132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7pPr>
    <a:lvl8pPr marL="3885926" algn="l" defTabSz="555132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8pPr>
    <a:lvl9pPr marL="4441058" algn="l" defTabSz="555132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53C9EAE3-A65C-4AE1-9C95-086968F4B110}">
          <p14:sldIdLst>
            <p14:sldId id="445"/>
            <p14:sldId id="752"/>
            <p14:sldId id="792"/>
            <p14:sldId id="761"/>
            <p14:sldId id="788"/>
            <p14:sldId id="799"/>
            <p14:sldId id="798"/>
            <p14:sldId id="801"/>
            <p14:sldId id="802"/>
            <p14:sldId id="800"/>
            <p14:sldId id="803"/>
            <p14:sldId id="804"/>
            <p14:sldId id="770"/>
            <p14:sldId id="771"/>
            <p14:sldId id="772"/>
            <p14:sldId id="769"/>
            <p14:sldId id="808"/>
            <p14:sldId id="805"/>
            <p14:sldId id="810"/>
            <p14:sldId id="811"/>
            <p14:sldId id="820"/>
            <p14:sldId id="813"/>
            <p14:sldId id="814"/>
            <p14:sldId id="821"/>
            <p14:sldId id="823"/>
            <p14:sldId id="824"/>
            <p14:sldId id="773"/>
            <p14:sldId id="776"/>
            <p14:sldId id="825"/>
            <p14:sldId id="819"/>
            <p14:sldId id="791"/>
            <p14:sldId id="828"/>
            <p14:sldId id="827"/>
            <p14:sldId id="826"/>
            <p14:sldId id="817"/>
            <p14:sldId id="75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4051" userDrawn="1">
          <p15:clr>
            <a:srgbClr val="A4A3A4"/>
          </p15:clr>
        </p15:guide>
        <p15:guide id="3" orient="horz" pos="1003" userDrawn="1">
          <p15:clr>
            <a:srgbClr val="A4A3A4"/>
          </p15:clr>
        </p15:guide>
        <p15:guide id="4" orient="horz" pos="1267" userDrawn="1">
          <p15:clr>
            <a:srgbClr val="A4A3A4"/>
          </p15:clr>
        </p15:guide>
        <p15:guide id="9" pos="7487">
          <p15:clr>
            <a:srgbClr val="A4A3A4"/>
          </p15:clr>
        </p15:guide>
        <p15:guide id="10" pos="339">
          <p15:clr>
            <a:srgbClr val="A4A3A4"/>
          </p15:clr>
        </p15:guide>
        <p15:guide id="11" orient="horz" pos="979" userDrawn="1">
          <p15:clr>
            <a:srgbClr val="A4A3A4"/>
          </p15:clr>
        </p15:guide>
        <p15:guide id="12" orient="horz" pos="1243">
          <p15:clr>
            <a:srgbClr val="A4A3A4"/>
          </p15:clr>
        </p15:guide>
        <p15:guide id="13" orient="horz" pos="1291">
          <p15:clr>
            <a:srgbClr val="A4A3A4"/>
          </p15:clr>
        </p15:guide>
        <p15:guide id="14" orient="horz" pos="407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218" clrIdx="0"/>
  <p:cmAuthor id="2" name="Steve Heuring" initials="SH" lastIdx="146" clrIdx="1">
    <p:extLst/>
  </p:cmAuthor>
  <p:cmAuthor id="3" name="Matt Fontaine" initials="MF" lastIdx="1" clrIdx="2">
    <p:extLst/>
  </p:cmAuthor>
  <p:cmAuthor id="4" name="Andrew Hart (Arryve)" initials="AH(" lastIdx="1" clrIdx="3">
    <p:extLst/>
  </p:cmAuthor>
  <p:cmAuthor id="5" name="AJ" initials="A" lastIdx="5" clrIdx="4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99FF"/>
    <a:srgbClr val="394D54"/>
    <a:srgbClr val="F2AD00"/>
    <a:srgbClr val="002B4C"/>
    <a:srgbClr val="0066FF"/>
    <a:srgbClr val="F76B1D"/>
    <a:srgbClr val="AB0086"/>
    <a:srgbClr val="EE8200"/>
    <a:srgbClr val="FFAA43"/>
    <a:srgbClr val="F87B3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012" autoAdjust="0"/>
    <p:restoredTop sz="81422" autoAdjust="0"/>
  </p:normalViewPr>
  <p:slideViewPr>
    <p:cSldViewPr snapToGrid="0" snapToObjects="1">
      <p:cViewPr varScale="1">
        <p:scale>
          <a:sx n="59" d="100"/>
          <a:sy n="59" d="100"/>
        </p:scale>
        <p:origin x="156" y="42"/>
      </p:cViewPr>
      <p:guideLst>
        <p:guide orient="horz" pos="4051"/>
        <p:guide orient="horz" pos="1003"/>
        <p:guide orient="horz" pos="1267"/>
        <p:guide pos="7487"/>
        <p:guide pos="339"/>
        <p:guide orient="horz" pos="979"/>
        <p:guide orient="horz" pos="1243"/>
        <p:guide orient="horz" pos="1291"/>
        <p:guide orient="horz" pos="407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 snapToObjects="1">
      <p:cViewPr varScale="1">
        <p:scale>
          <a:sx n="50" d="100"/>
          <a:sy n="50" d="100"/>
        </p:scale>
        <p:origin x="1757" y="29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handoutMaster" Target="handoutMasters/handoutMaster1.xml"/><Relationship Id="rId47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commentAuthors" Target="commentAuthor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AE2EB73-799B-4106-8676-161F98BAFD49}" type="doc">
      <dgm:prSet loTypeId="urn:microsoft.com/office/officeart/2005/8/layout/cycle1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1735FA0A-C8DD-47AA-B9C5-E012A4F5BAA4}">
      <dgm:prSet phldrT="[Text]" custT="1"/>
      <dgm:spPr/>
      <dgm:t>
        <a:bodyPr/>
        <a:lstStyle/>
        <a:p>
          <a:r>
            <a:rPr lang="en-US" sz="5400" dirty="0" smtClean="0">
              <a:solidFill>
                <a:schemeClr val="bg1"/>
              </a:solidFill>
              <a:latin typeface="Segoe UI Semibold" panose="020B0702040204020203" pitchFamily="34" charset="0"/>
              <a:cs typeface="Segoe UI Semibold" panose="020B0702040204020203" pitchFamily="34" charset="0"/>
            </a:rPr>
            <a:t>Ship</a:t>
          </a:r>
          <a:endParaRPr lang="en-US" sz="5400" dirty="0">
            <a:solidFill>
              <a:schemeClr val="bg1"/>
            </a:solidFill>
            <a:latin typeface="Segoe UI Semibold" panose="020B0702040204020203" pitchFamily="34" charset="0"/>
            <a:cs typeface="Segoe UI Semibold" panose="020B0702040204020203" pitchFamily="34" charset="0"/>
          </a:endParaRPr>
        </a:p>
      </dgm:t>
    </dgm:pt>
    <dgm:pt modelId="{09B54D0B-6A1A-4A55-AFAE-93B4B4525EEB}" type="parTrans" cxnId="{C16AC119-9EBA-4EA8-87ED-77053D5B142D}">
      <dgm:prSet/>
      <dgm:spPr/>
      <dgm:t>
        <a:bodyPr/>
        <a:lstStyle/>
        <a:p>
          <a:endParaRPr lang="en-US"/>
        </a:p>
      </dgm:t>
    </dgm:pt>
    <dgm:pt modelId="{B8D18C89-870B-4566-AE4F-F41750C646EC}" type="sibTrans" cxnId="{C16AC119-9EBA-4EA8-87ED-77053D5B142D}">
      <dgm:prSet/>
      <dgm:spPr>
        <a:solidFill>
          <a:schemeClr val="bg1"/>
        </a:solidFill>
        <a:ln>
          <a:solidFill>
            <a:schemeClr val="bg1"/>
          </a:solidFill>
        </a:ln>
      </dgm:spPr>
      <dgm:t>
        <a:bodyPr/>
        <a:lstStyle/>
        <a:p>
          <a:endParaRPr lang="en-US"/>
        </a:p>
      </dgm:t>
    </dgm:pt>
    <dgm:pt modelId="{0604F08C-EE01-445C-AABF-BE594CD5A948}">
      <dgm:prSet phldrT="[Text]" custT="1"/>
      <dgm:spPr/>
      <dgm:t>
        <a:bodyPr/>
        <a:lstStyle/>
        <a:p>
          <a:r>
            <a:rPr lang="en-US" sz="5400" dirty="0" smtClean="0">
              <a:solidFill>
                <a:schemeClr val="bg1"/>
              </a:solidFill>
              <a:latin typeface="Segoe UI Semibold" panose="020B0702040204020203" pitchFamily="34" charset="0"/>
              <a:cs typeface="Segoe UI Semibold" panose="020B0702040204020203" pitchFamily="34" charset="0"/>
            </a:rPr>
            <a:t>Run</a:t>
          </a:r>
          <a:endParaRPr lang="en-US" sz="5400" dirty="0">
            <a:solidFill>
              <a:schemeClr val="bg1"/>
            </a:solidFill>
            <a:latin typeface="Segoe UI Semibold" panose="020B0702040204020203" pitchFamily="34" charset="0"/>
            <a:cs typeface="Segoe UI Semibold" panose="020B0702040204020203" pitchFamily="34" charset="0"/>
          </a:endParaRPr>
        </a:p>
      </dgm:t>
    </dgm:pt>
    <dgm:pt modelId="{9E7BE8E1-7808-484B-A876-2B3FB4B83465}" type="sibTrans" cxnId="{23ED3ED1-BDCA-43AF-B58C-D5A80A8B1DC5}">
      <dgm:prSet/>
      <dgm:spPr>
        <a:solidFill>
          <a:schemeClr val="bg1"/>
        </a:solidFill>
      </dgm:spPr>
      <dgm:t>
        <a:bodyPr/>
        <a:lstStyle/>
        <a:p>
          <a:endParaRPr lang="en-US"/>
        </a:p>
      </dgm:t>
    </dgm:pt>
    <dgm:pt modelId="{346FD98C-D57B-441D-B885-3B554DFE0227}" type="parTrans" cxnId="{23ED3ED1-BDCA-43AF-B58C-D5A80A8B1DC5}">
      <dgm:prSet/>
      <dgm:spPr/>
      <dgm:t>
        <a:bodyPr/>
        <a:lstStyle/>
        <a:p>
          <a:endParaRPr lang="en-US"/>
        </a:p>
      </dgm:t>
    </dgm:pt>
    <dgm:pt modelId="{CB0017F5-9DF4-4E57-98F1-14E7D9441D01}">
      <dgm:prSet phldrT="[Text]" custT="1"/>
      <dgm:spPr/>
      <dgm:t>
        <a:bodyPr/>
        <a:lstStyle/>
        <a:p>
          <a:r>
            <a:rPr lang="en-US" sz="5400" dirty="0" smtClean="0">
              <a:solidFill>
                <a:schemeClr val="bg1"/>
              </a:solidFill>
              <a:latin typeface="Segoe UI Semibold" panose="020B0702040204020203" pitchFamily="34" charset="0"/>
              <a:cs typeface="Segoe UI Semibold" panose="020B0702040204020203" pitchFamily="34" charset="0"/>
            </a:rPr>
            <a:t>Build</a:t>
          </a:r>
          <a:endParaRPr lang="en-US" sz="5400" dirty="0">
            <a:solidFill>
              <a:schemeClr val="bg1"/>
            </a:solidFill>
            <a:latin typeface="Segoe UI Semibold" panose="020B0702040204020203" pitchFamily="34" charset="0"/>
            <a:cs typeface="Segoe UI Semibold" panose="020B0702040204020203" pitchFamily="34" charset="0"/>
          </a:endParaRPr>
        </a:p>
      </dgm:t>
    </dgm:pt>
    <dgm:pt modelId="{99901DEE-CB6B-4A9D-8AB4-335A7B9D7044}" type="parTrans" cxnId="{3CF55FDF-5ECC-4F42-8A80-F80C74C5BE7F}">
      <dgm:prSet/>
      <dgm:spPr/>
      <dgm:t>
        <a:bodyPr/>
        <a:lstStyle/>
        <a:p>
          <a:endParaRPr lang="en-US"/>
        </a:p>
      </dgm:t>
    </dgm:pt>
    <dgm:pt modelId="{E5D2E731-7730-47F5-A2D3-8B8EBEEDD08D}" type="sibTrans" cxnId="{3CF55FDF-5ECC-4F42-8A80-F80C74C5BE7F}">
      <dgm:prSet/>
      <dgm:spPr>
        <a:solidFill>
          <a:schemeClr val="bg1"/>
        </a:solidFill>
        <a:ln>
          <a:solidFill>
            <a:schemeClr val="bg1"/>
          </a:solidFill>
        </a:ln>
      </dgm:spPr>
      <dgm:t>
        <a:bodyPr/>
        <a:lstStyle/>
        <a:p>
          <a:endParaRPr lang="en-US"/>
        </a:p>
      </dgm:t>
    </dgm:pt>
    <dgm:pt modelId="{B91C6204-F17E-4E2A-AC0F-8C9EEA540B23}" type="pres">
      <dgm:prSet presAssocID="{BAE2EB73-799B-4106-8676-161F98BAFD49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5A9212CE-4029-4E3B-B05D-CE2E7C36FDDC}" type="pres">
      <dgm:prSet presAssocID="{1735FA0A-C8DD-47AA-B9C5-E012A4F5BAA4}" presName="dummy" presStyleCnt="0"/>
      <dgm:spPr/>
    </dgm:pt>
    <dgm:pt modelId="{70798D9C-A8C0-4D54-87CA-8073F3A7E6C5}" type="pres">
      <dgm:prSet presAssocID="{1735FA0A-C8DD-47AA-B9C5-E012A4F5BAA4}" presName="node" presStyleLbl="revTx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0FCA5FA-9F19-47FB-882D-A18AE2526DA0}" type="pres">
      <dgm:prSet presAssocID="{B8D18C89-870B-4566-AE4F-F41750C646EC}" presName="sibTrans" presStyleLbl="node1" presStyleIdx="0" presStyleCnt="3"/>
      <dgm:spPr/>
      <dgm:t>
        <a:bodyPr/>
        <a:lstStyle/>
        <a:p>
          <a:endParaRPr lang="en-US"/>
        </a:p>
      </dgm:t>
    </dgm:pt>
    <dgm:pt modelId="{DD0F04F0-7C3A-4E30-95BC-19C3BC5B1677}" type="pres">
      <dgm:prSet presAssocID="{0604F08C-EE01-445C-AABF-BE594CD5A948}" presName="dummy" presStyleCnt="0"/>
      <dgm:spPr/>
    </dgm:pt>
    <dgm:pt modelId="{99FBD02D-FCD2-4715-AC5F-5F0967C26166}" type="pres">
      <dgm:prSet presAssocID="{0604F08C-EE01-445C-AABF-BE594CD5A948}" presName="node" presStyleLbl="revTx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7BEE81B-FD91-4BBA-A69D-B5A0492F6D6C}" type="pres">
      <dgm:prSet presAssocID="{9E7BE8E1-7808-484B-A876-2B3FB4B83465}" presName="sibTrans" presStyleLbl="node1" presStyleIdx="1" presStyleCnt="3"/>
      <dgm:spPr/>
      <dgm:t>
        <a:bodyPr/>
        <a:lstStyle/>
        <a:p>
          <a:endParaRPr lang="en-US"/>
        </a:p>
      </dgm:t>
    </dgm:pt>
    <dgm:pt modelId="{07DED139-A446-4B81-B38B-718124FFF587}" type="pres">
      <dgm:prSet presAssocID="{CB0017F5-9DF4-4E57-98F1-14E7D9441D01}" presName="dummy" presStyleCnt="0"/>
      <dgm:spPr/>
    </dgm:pt>
    <dgm:pt modelId="{6EBB0ADC-9352-407F-8E34-4BB607ADDB56}" type="pres">
      <dgm:prSet presAssocID="{CB0017F5-9DF4-4E57-98F1-14E7D9441D01}" presName="node" presStyleLbl="revTx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9741FFF-A8F5-45F2-A297-7F4C9D43703F}" type="pres">
      <dgm:prSet presAssocID="{E5D2E731-7730-47F5-A2D3-8B8EBEEDD08D}" presName="sibTrans" presStyleLbl="node1" presStyleIdx="2" presStyleCnt="3"/>
      <dgm:spPr/>
      <dgm:t>
        <a:bodyPr/>
        <a:lstStyle/>
        <a:p>
          <a:endParaRPr lang="en-US"/>
        </a:p>
      </dgm:t>
    </dgm:pt>
  </dgm:ptLst>
  <dgm:cxnLst>
    <dgm:cxn modelId="{C50FDE0E-8EAB-4877-96E5-BF411747BC25}" type="presOf" srcId="{0604F08C-EE01-445C-AABF-BE594CD5A948}" destId="{99FBD02D-FCD2-4715-AC5F-5F0967C26166}" srcOrd="0" destOrd="0" presId="urn:microsoft.com/office/officeart/2005/8/layout/cycle1"/>
    <dgm:cxn modelId="{C16AC119-9EBA-4EA8-87ED-77053D5B142D}" srcId="{BAE2EB73-799B-4106-8676-161F98BAFD49}" destId="{1735FA0A-C8DD-47AA-B9C5-E012A4F5BAA4}" srcOrd="0" destOrd="0" parTransId="{09B54D0B-6A1A-4A55-AFAE-93B4B4525EEB}" sibTransId="{B8D18C89-870B-4566-AE4F-F41750C646EC}"/>
    <dgm:cxn modelId="{D70F422E-8BF9-4D9E-BFF5-9DB620ACA6C6}" type="presOf" srcId="{1735FA0A-C8DD-47AA-B9C5-E012A4F5BAA4}" destId="{70798D9C-A8C0-4D54-87CA-8073F3A7E6C5}" srcOrd="0" destOrd="0" presId="urn:microsoft.com/office/officeart/2005/8/layout/cycle1"/>
    <dgm:cxn modelId="{F89813FC-8ADC-408B-9882-FB45ABA3BE91}" type="presOf" srcId="{B8D18C89-870B-4566-AE4F-F41750C646EC}" destId="{60FCA5FA-9F19-47FB-882D-A18AE2526DA0}" srcOrd="0" destOrd="0" presId="urn:microsoft.com/office/officeart/2005/8/layout/cycle1"/>
    <dgm:cxn modelId="{F62DB86E-96A3-48BD-A69A-F50ADAA397F3}" type="presOf" srcId="{E5D2E731-7730-47F5-A2D3-8B8EBEEDD08D}" destId="{39741FFF-A8F5-45F2-A297-7F4C9D43703F}" srcOrd="0" destOrd="0" presId="urn:microsoft.com/office/officeart/2005/8/layout/cycle1"/>
    <dgm:cxn modelId="{6AFA9ADA-A8CF-4D8A-A090-D0D575DE3C4F}" type="presOf" srcId="{BAE2EB73-799B-4106-8676-161F98BAFD49}" destId="{B91C6204-F17E-4E2A-AC0F-8C9EEA540B23}" srcOrd="0" destOrd="0" presId="urn:microsoft.com/office/officeart/2005/8/layout/cycle1"/>
    <dgm:cxn modelId="{76D87458-5DCC-4B82-9CCA-CDC7617790B4}" type="presOf" srcId="{CB0017F5-9DF4-4E57-98F1-14E7D9441D01}" destId="{6EBB0ADC-9352-407F-8E34-4BB607ADDB56}" srcOrd="0" destOrd="0" presId="urn:microsoft.com/office/officeart/2005/8/layout/cycle1"/>
    <dgm:cxn modelId="{0F6129FF-D73F-4F63-B517-1976AE13639F}" type="presOf" srcId="{9E7BE8E1-7808-484B-A876-2B3FB4B83465}" destId="{97BEE81B-FD91-4BBA-A69D-B5A0492F6D6C}" srcOrd="0" destOrd="0" presId="urn:microsoft.com/office/officeart/2005/8/layout/cycle1"/>
    <dgm:cxn modelId="{3CF55FDF-5ECC-4F42-8A80-F80C74C5BE7F}" srcId="{BAE2EB73-799B-4106-8676-161F98BAFD49}" destId="{CB0017F5-9DF4-4E57-98F1-14E7D9441D01}" srcOrd="2" destOrd="0" parTransId="{99901DEE-CB6B-4A9D-8AB4-335A7B9D7044}" sibTransId="{E5D2E731-7730-47F5-A2D3-8B8EBEEDD08D}"/>
    <dgm:cxn modelId="{23ED3ED1-BDCA-43AF-B58C-D5A80A8B1DC5}" srcId="{BAE2EB73-799B-4106-8676-161F98BAFD49}" destId="{0604F08C-EE01-445C-AABF-BE594CD5A948}" srcOrd="1" destOrd="0" parTransId="{346FD98C-D57B-441D-B885-3B554DFE0227}" sibTransId="{9E7BE8E1-7808-484B-A876-2B3FB4B83465}"/>
    <dgm:cxn modelId="{05547D38-50FC-469E-87F3-C95B15026FE2}" type="presParOf" srcId="{B91C6204-F17E-4E2A-AC0F-8C9EEA540B23}" destId="{5A9212CE-4029-4E3B-B05D-CE2E7C36FDDC}" srcOrd="0" destOrd="0" presId="urn:microsoft.com/office/officeart/2005/8/layout/cycle1"/>
    <dgm:cxn modelId="{1F7858C9-A9C2-457A-96BE-63CA37B97453}" type="presParOf" srcId="{B91C6204-F17E-4E2A-AC0F-8C9EEA540B23}" destId="{70798D9C-A8C0-4D54-87CA-8073F3A7E6C5}" srcOrd="1" destOrd="0" presId="urn:microsoft.com/office/officeart/2005/8/layout/cycle1"/>
    <dgm:cxn modelId="{B1FB9D3C-6B37-4A6A-AA21-8E60BD6120CC}" type="presParOf" srcId="{B91C6204-F17E-4E2A-AC0F-8C9EEA540B23}" destId="{60FCA5FA-9F19-47FB-882D-A18AE2526DA0}" srcOrd="2" destOrd="0" presId="urn:microsoft.com/office/officeart/2005/8/layout/cycle1"/>
    <dgm:cxn modelId="{533EC1EE-B3C9-4A94-A384-B431C63E2C49}" type="presParOf" srcId="{B91C6204-F17E-4E2A-AC0F-8C9EEA540B23}" destId="{DD0F04F0-7C3A-4E30-95BC-19C3BC5B1677}" srcOrd="3" destOrd="0" presId="urn:microsoft.com/office/officeart/2005/8/layout/cycle1"/>
    <dgm:cxn modelId="{4DCA9F49-39E7-4F27-826B-E2DE106AD7B2}" type="presParOf" srcId="{B91C6204-F17E-4E2A-AC0F-8C9EEA540B23}" destId="{99FBD02D-FCD2-4715-AC5F-5F0967C26166}" srcOrd="4" destOrd="0" presId="urn:microsoft.com/office/officeart/2005/8/layout/cycle1"/>
    <dgm:cxn modelId="{4C7CC678-F3AC-47B1-85A3-57B1DF467993}" type="presParOf" srcId="{B91C6204-F17E-4E2A-AC0F-8C9EEA540B23}" destId="{97BEE81B-FD91-4BBA-A69D-B5A0492F6D6C}" srcOrd="5" destOrd="0" presId="urn:microsoft.com/office/officeart/2005/8/layout/cycle1"/>
    <dgm:cxn modelId="{30BF87FF-3504-44F9-9A0B-7EA966903DFB}" type="presParOf" srcId="{B91C6204-F17E-4E2A-AC0F-8C9EEA540B23}" destId="{07DED139-A446-4B81-B38B-718124FFF587}" srcOrd="6" destOrd="0" presId="urn:microsoft.com/office/officeart/2005/8/layout/cycle1"/>
    <dgm:cxn modelId="{77A44114-913C-43D3-ADDB-55C75E0DA1A1}" type="presParOf" srcId="{B91C6204-F17E-4E2A-AC0F-8C9EEA540B23}" destId="{6EBB0ADC-9352-407F-8E34-4BB607ADDB56}" srcOrd="7" destOrd="0" presId="urn:microsoft.com/office/officeart/2005/8/layout/cycle1"/>
    <dgm:cxn modelId="{8E306A76-C2CB-49A4-B941-E80F0F0EDE74}" type="presParOf" srcId="{B91C6204-F17E-4E2A-AC0F-8C9EEA540B23}" destId="{39741FFF-A8F5-45F2-A297-7F4C9D43703F}" srcOrd="8" destOrd="0" presId="urn:microsoft.com/office/officeart/2005/8/layout/cycle1"/>
  </dgm:cxnLst>
  <dgm:bg>
    <a:noFill/>
  </dgm:bg>
  <dgm:whole>
    <a:ln>
      <a:noFill/>
    </a:ln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0798D9C-A8C0-4D54-87CA-8073F3A7E6C5}">
      <dsp:nvSpPr>
        <dsp:cNvPr id="0" name=""/>
        <dsp:cNvSpPr/>
      </dsp:nvSpPr>
      <dsp:spPr>
        <a:xfrm>
          <a:off x="5332880" y="447564"/>
          <a:ext cx="2290138" cy="22901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2400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5400" kern="1200" dirty="0" smtClean="0">
              <a:solidFill>
                <a:schemeClr val="bg1"/>
              </a:solidFill>
              <a:latin typeface="Segoe UI Semibold" panose="020B0702040204020203" pitchFamily="34" charset="0"/>
              <a:cs typeface="Segoe UI Semibold" panose="020B0702040204020203" pitchFamily="34" charset="0"/>
            </a:rPr>
            <a:t>Ship</a:t>
          </a:r>
          <a:endParaRPr lang="en-US" sz="5400" kern="1200" dirty="0">
            <a:solidFill>
              <a:schemeClr val="bg1"/>
            </a:solidFill>
            <a:latin typeface="Segoe UI Semibold" panose="020B0702040204020203" pitchFamily="34" charset="0"/>
            <a:cs typeface="Segoe UI Semibold" panose="020B0702040204020203" pitchFamily="34" charset="0"/>
          </a:endParaRPr>
        </a:p>
      </dsp:txBody>
      <dsp:txXfrm>
        <a:off x="5332880" y="447564"/>
        <a:ext cx="2290138" cy="2290138"/>
      </dsp:txXfrm>
    </dsp:sp>
    <dsp:sp modelId="{60FCA5FA-9F19-47FB-882D-A18AE2526DA0}">
      <dsp:nvSpPr>
        <dsp:cNvPr id="0" name=""/>
        <dsp:cNvSpPr/>
      </dsp:nvSpPr>
      <dsp:spPr>
        <a:xfrm>
          <a:off x="1847749" y="-2185"/>
          <a:ext cx="5411690" cy="5411690"/>
        </a:xfrm>
        <a:prstGeom prst="circularArrow">
          <a:avLst>
            <a:gd name="adj1" fmla="val 8252"/>
            <a:gd name="adj2" fmla="val 576426"/>
            <a:gd name="adj3" fmla="val 2962443"/>
            <a:gd name="adj4" fmla="val 52669"/>
            <a:gd name="adj5" fmla="val 9627"/>
          </a:avLst>
        </a:prstGeom>
        <a:solidFill>
          <a:schemeClr val="bg1"/>
        </a:solidFill>
        <a:ln w="254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9FBD02D-FCD2-4715-AC5F-5F0967C26166}">
      <dsp:nvSpPr>
        <dsp:cNvPr id="0" name=""/>
        <dsp:cNvSpPr/>
      </dsp:nvSpPr>
      <dsp:spPr>
        <a:xfrm>
          <a:off x="3408525" y="3780644"/>
          <a:ext cx="2290138" cy="22901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2400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5400" kern="1200" dirty="0" smtClean="0">
              <a:solidFill>
                <a:schemeClr val="bg1"/>
              </a:solidFill>
              <a:latin typeface="Segoe UI Semibold" panose="020B0702040204020203" pitchFamily="34" charset="0"/>
              <a:cs typeface="Segoe UI Semibold" panose="020B0702040204020203" pitchFamily="34" charset="0"/>
            </a:rPr>
            <a:t>Run</a:t>
          </a:r>
          <a:endParaRPr lang="en-US" sz="5400" kern="1200" dirty="0">
            <a:solidFill>
              <a:schemeClr val="bg1"/>
            </a:solidFill>
            <a:latin typeface="Segoe UI Semibold" panose="020B0702040204020203" pitchFamily="34" charset="0"/>
            <a:cs typeface="Segoe UI Semibold" panose="020B0702040204020203" pitchFamily="34" charset="0"/>
          </a:endParaRPr>
        </a:p>
      </dsp:txBody>
      <dsp:txXfrm>
        <a:off x="3408525" y="3780644"/>
        <a:ext cx="2290138" cy="2290138"/>
      </dsp:txXfrm>
    </dsp:sp>
    <dsp:sp modelId="{97BEE81B-FD91-4BBA-A69D-B5A0492F6D6C}">
      <dsp:nvSpPr>
        <dsp:cNvPr id="0" name=""/>
        <dsp:cNvSpPr/>
      </dsp:nvSpPr>
      <dsp:spPr>
        <a:xfrm>
          <a:off x="1847749" y="-2185"/>
          <a:ext cx="5411690" cy="5411690"/>
        </a:xfrm>
        <a:prstGeom prst="circularArrow">
          <a:avLst>
            <a:gd name="adj1" fmla="val 8252"/>
            <a:gd name="adj2" fmla="val 576426"/>
            <a:gd name="adj3" fmla="val 10170905"/>
            <a:gd name="adj4" fmla="val 7261132"/>
            <a:gd name="adj5" fmla="val 9627"/>
          </a:avLst>
        </a:prstGeom>
        <a:solidFill>
          <a:schemeClr val="bg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EBB0ADC-9352-407F-8E34-4BB607ADDB56}">
      <dsp:nvSpPr>
        <dsp:cNvPr id="0" name=""/>
        <dsp:cNvSpPr/>
      </dsp:nvSpPr>
      <dsp:spPr>
        <a:xfrm>
          <a:off x="1484171" y="447564"/>
          <a:ext cx="2290138" cy="22901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2400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5400" kern="1200" dirty="0" smtClean="0">
              <a:solidFill>
                <a:schemeClr val="bg1"/>
              </a:solidFill>
              <a:latin typeface="Segoe UI Semibold" panose="020B0702040204020203" pitchFamily="34" charset="0"/>
              <a:cs typeface="Segoe UI Semibold" panose="020B0702040204020203" pitchFamily="34" charset="0"/>
            </a:rPr>
            <a:t>Build</a:t>
          </a:r>
          <a:endParaRPr lang="en-US" sz="5400" kern="1200" dirty="0">
            <a:solidFill>
              <a:schemeClr val="bg1"/>
            </a:solidFill>
            <a:latin typeface="Segoe UI Semibold" panose="020B0702040204020203" pitchFamily="34" charset="0"/>
            <a:cs typeface="Segoe UI Semibold" panose="020B0702040204020203" pitchFamily="34" charset="0"/>
          </a:endParaRPr>
        </a:p>
      </dsp:txBody>
      <dsp:txXfrm>
        <a:off x="1484171" y="447564"/>
        <a:ext cx="2290138" cy="2290138"/>
      </dsp:txXfrm>
    </dsp:sp>
    <dsp:sp modelId="{39741FFF-A8F5-45F2-A297-7F4C9D43703F}">
      <dsp:nvSpPr>
        <dsp:cNvPr id="0" name=""/>
        <dsp:cNvSpPr/>
      </dsp:nvSpPr>
      <dsp:spPr>
        <a:xfrm>
          <a:off x="1847749" y="-2185"/>
          <a:ext cx="5411690" cy="5411690"/>
        </a:xfrm>
        <a:prstGeom prst="circularArrow">
          <a:avLst>
            <a:gd name="adj1" fmla="val 8252"/>
            <a:gd name="adj2" fmla="val 576426"/>
            <a:gd name="adj3" fmla="val 16855401"/>
            <a:gd name="adj4" fmla="val 14968173"/>
            <a:gd name="adj5" fmla="val 9627"/>
          </a:avLst>
        </a:prstGeom>
        <a:solidFill>
          <a:schemeClr val="bg1"/>
        </a:solidFill>
        <a:ln w="254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1">
  <dgm:title val=""/>
  <dgm:desc val=""/>
  <dgm:catLst>
    <dgm:cat type="cycle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alg type="cycle">
          <dgm:param type="stAng" val="0"/>
          <dgm:param type="spanAng" val="360"/>
        </dgm:alg>
      </dgm:if>
      <dgm:else name="Name2">
        <dgm:alg type="cycle">
          <dgm:param type="stAng" val="0"/>
          <dgm:param type="spanAng" val="-360"/>
        </dgm:alg>
      </dgm:else>
    </dgm:choose>
    <dgm:shape xmlns:r="http://schemas.openxmlformats.org/officeDocument/2006/relationships" r:blip="">
      <dgm:adjLst/>
    </dgm:shape>
    <dgm:presOf/>
    <dgm:choose name="Name3">
      <dgm:if name="Name4" func="var" arg="dir" op="equ" val="norm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if>
      <dgm:else name="Name5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 fact="-1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else>
    </dgm:choose>
    <dgm:ruleLst>
      <dgm:rule type="diam" val="INF" fact="NaN" max="NaN"/>
    </dgm:ruleLst>
    <dgm:forEach name="nodesForEach" axis="ch" ptType="node">
      <dgm:choose name="Name6">
        <dgm:if name="Name7" axis="par ch" ptType="doc node" func="cnt" op="gt" val="1">
          <dgm:layoutNode name="dummy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</dgm:if>
        <dgm:else name="Name8"/>
      </dgm:choose>
      <dgm:layoutNode name="node" styleLbl="revTx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Name11" axis="followSib" ptType="sibTrans" hideLastTrans="0" cnt="1">
            <dgm:layoutNode name="sibTrans" styleLbl="node1">
              <dgm:alg type="conn"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begPad"/>
                <dgm:constr type="endPad"/>
              </dgm:constrLst>
              <dgm:ruleLst/>
            </dgm:layoutNode>
          </dgm:forEach>
        </dgm:if>
        <dgm:else name="Name12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>
              <a:latin typeface="Segoe UI" panose="020B0502040204020203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EBA4797F-3B8A-44E2-AFCC-CB4CCD8B0039}" type="datetimeFigureOut">
              <a:rPr lang="en-US" smtClean="0">
                <a:latin typeface="Segoe UI" panose="020B0502040204020203" pitchFamily="34" charset="0"/>
              </a:rPr>
              <a:t>2/23/2016</a:t>
            </a:fld>
            <a:endParaRPr lang="en-US" dirty="0">
              <a:latin typeface="Segoe UI" panose="020B0502040204020203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>
              <a:latin typeface="Segoe UI" panose="020B0502040204020203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77628A5E-9068-43D7-B8CC-ECE8B635BE9E}" type="slidenum">
              <a:rPr lang="en-US" smtClean="0">
                <a:latin typeface="Segoe UI" panose="020B0502040204020203" pitchFamily="34" charset="0"/>
              </a:rPr>
              <a:t>‹#›</a:t>
            </a:fld>
            <a:endParaRPr lang="en-US" dirty="0"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982152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>
              <a:latin typeface="Segoe UI" panose="020B0502040204020203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51260525-2E05-384A-8A15-DF01E596036B}" type="datetimeFigureOut">
              <a:rPr lang="en-US" smtClean="0">
                <a:latin typeface="Segoe UI" panose="020B0502040204020203" pitchFamily="34" charset="0"/>
              </a:rPr>
              <a:t>2/23/2016</a:t>
            </a:fld>
            <a:endParaRPr lang="en-US" dirty="0">
              <a:latin typeface="Segoe UI" panose="020B0502040204020203" pitchFamily="34" charset="0"/>
            </a:endParaRP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 dirty="0">
              <a:latin typeface="Segoe UI" panose="020B0502040204020203" pitchFamily="34" charset="0"/>
            </a:endParaRP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>
              <a:latin typeface="Segoe UI" panose="020B0502040204020203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FF6956F3-7789-E044-B7D3-F234CE1177F2}" type="slidenum">
              <a:rPr lang="en-US" smtClean="0">
                <a:latin typeface="Segoe UI" panose="020B0502040204020203" pitchFamily="34" charset="0"/>
              </a:rPr>
              <a:t>‹#›</a:t>
            </a:fld>
            <a:endParaRPr lang="en-US" dirty="0"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38884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Segoe UI" panose="020B0502040204020203" pitchFamily="34" charset="0"/>
        <a:ea typeface="+mn-ea"/>
        <a:cs typeface="+mn-cs"/>
        <a:sym typeface="Segoe UI" panose="020B0502040204020203" pitchFamily="34" charset="0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Segoe UI" panose="020B0502040204020203" pitchFamily="34" charset="0"/>
        <a:ea typeface="+mn-ea"/>
        <a:cs typeface="+mn-cs"/>
        <a:sym typeface="Segoe UI" panose="020B0502040204020203" pitchFamily="34" charset="0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Segoe UI" panose="020B0502040204020203" pitchFamily="34" charset="0"/>
        <a:ea typeface="+mn-ea"/>
        <a:cs typeface="+mn-cs"/>
        <a:sym typeface="Segoe UI" panose="020B0502040204020203" pitchFamily="34" charset="0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Segoe UI" panose="020B0502040204020203" pitchFamily="34" charset="0"/>
        <a:ea typeface="+mn-ea"/>
        <a:cs typeface="+mn-cs"/>
        <a:sym typeface="Segoe UI" panose="020B0502040204020203" pitchFamily="34" charset="0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Segoe UI" panose="020B0502040204020203" pitchFamily="34" charset="0"/>
        <a:ea typeface="+mn-ea"/>
        <a:cs typeface="+mn-cs"/>
        <a:sym typeface="Segoe UI" panose="020B0502040204020203" pitchFamily="34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>
              <a:latin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6956F3-7789-E044-B7D3-F234CE1177F2}" type="slidenum">
              <a:rPr lang="en-US" smtClean="0">
                <a:latin typeface="Segoe UI" panose="020B0502040204020203" pitchFamily="34" charset="0"/>
              </a:rPr>
              <a:t>1</a:t>
            </a:fld>
            <a:endParaRPr lang="en-US" dirty="0"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896109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6956F3-7789-E044-B7D3-F234CE1177F2}" type="slidenum">
              <a:rPr lang="en-US" smtClean="0">
                <a:latin typeface="Segoe UI" panose="020B0502040204020203" pitchFamily="34" charset="0"/>
              </a:rPr>
              <a:t>11</a:t>
            </a:fld>
            <a:endParaRPr lang="en-US" dirty="0"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600814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6956F3-7789-E044-B7D3-F234CE1177F2}" type="slidenum">
              <a:rPr lang="en-US" smtClean="0">
                <a:latin typeface="Segoe UI" panose="020B0502040204020203" pitchFamily="34" charset="0"/>
              </a:rPr>
              <a:t>12</a:t>
            </a:fld>
            <a:endParaRPr lang="en-US" dirty="0"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021925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6956F3-7789-E044-B7D3-F234CE1177F2}" type="slidenum">
              <a:rPr lang="en-US" smtClean="0">
                <a:latin typeface="Segoe UI" panose="020B0502040204020203" pitchFamily="34" charset="0"/>
              </a:rPr>
              <a:t>14</a:t>
            </a:fld>
            <a:endParaRPr lang="en-US" dirty="0"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365714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6956F3-7789-E044-B7D3-F234CE1177F2}" type="slidenum">
              <a:rPr lang="en-US" smtClean="0">
                <a:latin typeface="Segoe UI" panose="020B0502040204020203" pitchFamily="34" charset="0"/>
              </a:rPr>
              <a:t>15</a:t>
            </a:fld>
            <a:endParaRPr lang="en-US" dirty="0"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528819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6956F3-7789-E044-B7D3-F234CE1177F2}" type="slidenum">
              <a:rPr lang="en-US" smtClean="0">
                <a:latin typeface="Segoe UI" panose="020B0502040204020203" pitchFamily="34" charset="0"/>
              </a:rPr>
              <a:t>16</a:t>
            </a:fld>
            <a:endParaRPr lang="en-US" dirty="0"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493406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6956F3-7789-E044-B7D3-F234CE1177F2}" type="slidenum">
              <a:rPr lang="en-US" smtClean="0">
                <a:latin typeface="Segoe UI" panose="020B0502040204020203" pitchFamily="34" charset="0"/>
              </a:rPr>
              <a:t>17</a:t>
            </a:fld>
            <a:endParaRPr lang="en-US" dirty="0"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112565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 smtClean="0"/>
              <a:t>Linxux</a:t>
            </a:r>
            <a:r>
              <a:rPr lang="en-US" dirty="0" smtClean="0"/>
              <a:t> containers</a:t>
            </a:r>
            <a:r>
              <a:rPr lang="en-US" baseline="0" dirty="0" smtClean="0"/>
              <a:t> only on </a:t>
            </a:r>
            <a:r>
              <a:rPr lang="en-US" baseline="0" dirty="0" err="1" smtClean="0"/>
              <a:t>linux</a:t>
            </a:r>
            <a:r>
              <a:rPr lang="en-US" baseline="0" dirty="0" smtClean="0"/>
              <a:t> host, windows containers only on windows server 2016 host, which us yet to come out …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6956F3-7789-E044-B7D3-F234CE1177F2}" type="slidenum">
              <a:rPr lang="en-US" smtClean="0">
                <a:latin typeface="Segoe UI" panose="020B0502040204020203" pitchFamily="34" charset="0"/>
              </a:rPr>
              <a:t>18</a:t>
            </a:fld>
            <a:endParaRPr lang="en-US" dirty="0"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200025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6956F3-7789-E044-B7D3-F234CE1177F2}" type="slidenum">
              <a:rPr lang="en-US" smtClean="0">
                <a:latin typeface="Segoe UI" panose="020B0502040204020203" pitchFamily="34" charset="0"/>
              </a:rPr>
              <a:t>20</a:t>
            </a:fld>
            <a:endParaRPr lang="en-US" dirty="0"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169473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aseline="0" dirty="0" smtClean="0"/>
              <a:t>Note that </a:t>
            </a:r>
            <a:r>
              <a:rPr lang="en-US" baseline="0" dirty="0" err="1" smtClean="0"/>
              <a:t>docker</a:t>
            </a:r>
            <a:r>
              <a:rPr lang="en-US" baseline="0" dirty="0" smtClean="0"/>
              <a:t> containers are application-centric; they only run one process. It’s like launching a command in a terminal … but only in a container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6956F3-7789-E044-B7D3-F234CE1177F2}" type="slidenum">
              <a:rPr lang="en-US" smtClean="0">
                <a:latin typeface="Segoe UI" panose="020B0502040204020203" pitchFamily="34" charset="0"/>
              </a:rPr>
              <a:t>21</a:t>
            </a:fld>
            <a:endParaRPr lang="en-US" dirty="0"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894150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As images packs</a:t>
            </a:r>
            <a:r>
              <a:rPr lang="en-US" baseline="0" dirty="0" smtClean="0"/>
              <a:t> an application with all of it’s dependencies, </a:t>
            </a:r>
            <a:r>
              <a:rPr lang="en-US" baseline="0" dirty="0" err="1" smtClean="0"/>
              <a:t>docker</a:t>
            </a:r>
            <a:r>
              <a:rPr lang="en-US" baseline="0" dirty="0" smtClean="0"/>
              <a:t> images are (most of the time) quite a lot larger then your application itself. Note that Docker OS images are optimized for containers and are small (</a:t>
            </a:r>
            <a:r>
              <a:rPr lang="en-US" baseline="0" dirty="0" err="1" smtClean="0"/>
              <a:t>er</a:t>
            </a:r>
            <a:r>
              <a:rPr lang="en-US" baseline="0" dirty="0" smtClean="0"/>
              <a:t>) in size: </a:t>
            </a:r>
            <a:r>
              <a:rPr lang="en-US" baseline="0" dirty="0" err="1" smtClean="0"/>
              <a:t>e.g</a:t>
            </a:r>
            <a:r>
              <a:rPr lang="en-US" baseline="0" dirty="0" smtClean="0"/>
              <a:t> </a:t>
            </a:r>
            <a:r>
              <a:rPr lang="en-US" baseline="0" dirty="0" err="1" smtClean="0"/>
              <a:t>ubuntu</a:t>
            </a:r>
            <a:r>
              <a:rPr lang="en-US" baseline="0" dirty="0" smtClean="0"/>
              <a:t> images 120 à 140 MB, </a:t>
            </a:r>
            <a:r>
              <a:rPr lang="en-US" baseline="0" dirty="0" err="1" smtClean="0"/>
              <a:t>busybox</a:t>
            </a:r>
            <a:r>
              <a:rPr lang="en-US" baseline="0" dirty="0" smtClean="0"/>
              <a:t> 2MB. Docker containers use layered file systems which helps a lot in making pulling and pushing images fast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6956F3-7789-E044-B7D3-F234CE1177F2}" type="slidenum">
              <a:rPr lang="en-US" smtClean="0">
                <a:latin typeface="Segoe UI" panose="020B0502040204020203" pitchFamily="34" charset="0"/>
              </a:rPr>
              <a:t>22</a:t>
            </a:fld>
            <a:endParaRPr lang="en-US" dirty="0"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197381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6956F3-7789-E044-B7D3-F234CE1177F2}" type="slidenum">
              <a:rPr lang="en-US" smtClean="0">
                <a:latin typeface="Segoe UI" panose="020B0502040204020203" pitchFamily="34" charset="0"/>
              </a:rPr>
              <a:t>2</a:t>
            </a:fld>
            <a:endParaRPr lang="en-US" dirty="0"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650080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6956F3-7789-E044-B7D3-F234CE1177F2}" type="slidenum">
              <a:rPr lang="en-US" smtClean="0">
                <a:latin typeface="Segoe UI" panose="020B0502040204020203" pitchFamily="34" charset="0"/>
              </a:rPr>
              <a:t>23</a:t>
            </a:fld>
            <a:endParaRPr lang="en-US" dirty="0"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351169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6956F3-7789-E044-B7D3-F234CE1177F2}" type="slidenum">
              <a:rPr lang="en-US" smtClean="0">
                <a:latin typeface="Segoe UI" panose="020B0502040204020203" pitchFamily="34" charset="0"/>
              </a:rPr>
              <a:t>24</a:t>
            </a:fld>
            <a:endParaRPr lang="en-US" dirty="0"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248527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6956F3-7789-E044-B7D3-F234CE1177F2}" type="slidenum">
              <a:rPr lang="en-US" smtClean="0">
                <a:latin typeface="Segoe UI" panose="020B0502040204020203" pitchFamily="34" charset="0"/>
              </a:rPr>
              <a:t>25</a:t>
            </a:fld>
            <a:endParaRPr lang="en-US" dirty="0"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109936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6956F3-7789-E044-B7D3-F234CE1177F2}" type="slidenum">
              <a:rPr lang="en-US" smtClean="0">
                <a:latin typeface="Segoe UI" panose="020B0502040204020203" pitchFamily="34" charset="0"/>
              </a:rPr>
              <a:t>26</a:t>
            </a:fld>
            <a:endParaRPr lang="en-US" dirty="0"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299013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BE" dirty="0" smtClean="0"/>
              <a:t>Omdat</a:t>
            </a:r>
            <a:r>
              <a:rPr lang="nl-BE" baseline="0" dirty="0" smtClean="0"/>
              <a:t> je container alles bevat qua configuratie, </a:t>
            </a:r>
            <a:r>
              <a:rPr lang="nl-BE" baseline="0" dirty="0" err="1" smtClean="0"/>
              <a:t>geinstalleerde</a:t>
            </a:r>
            <a:r>
              <a:rPr lang="nl-BE" baseline="0" dirty="0" smtClean="0"/>
              <a:t> software, enzovoort zal deze overal op elke omgeving kunnen draaien</a:t>
            </a:r>
          </a:p>
          <a:p>
            <a:endParaRPr lang="nl-BE" baseline="0" dirty="0" smtClean="0"/>
          </a:p>
          <a:p>
            <a:r>
              <a:rPr lang="nl-BE" baseline="0" dirty="0" err="1" smtClean="0"/>
              <a:t>DevOp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6956F3-7789-E044-B7D3-F234CE1177F2}" type="slidenum">
              <a:rPr lang="en-US" smtClean="0">
                <a:latin typeface="Segoe UI" panose="020B0502040204020203" pitchFamily="34" charset="0"/>
              </a:rPr>
              <a:t>31</a:t>
            </a:fld>
            <a:endParaRPr lang="en-US" dirty="0"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173297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6956F3-7789-E044-B7D3-F234CE1177F2}" type="slidenum">
              <a:rPr lang="en-US" smtClean="0">
                <a:latin typeface="Segoe UI" panose="020B0502040204020203" pitchFamily="34" charset="0"/>
              </a:rPr>
              <a:t>32</a:t>
            </a:fld>
            <a:endParaRPr lang="en-US" dirty="0"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51424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BE" dirty="0" smtClean="0"/>
              <a:t>Voorbeeld landbouw</a:t>
            </a:r>
            <a:r>
              <a:rPr lang="nl-BE" baseline="0" dirty="0" smtClean="0"/>
              <a:t> met verschillende services die op een </a:t>
            </a:r>
            <a:r>
              <a:rPr lang="nl-BE" baseline="0" dirty="0" err="1" smtClean="0"/>
              <a:t>dev</a:t>
            </a:r>
            <a:r>
              <a:rPr lang="nl-BE" baseline="0" dirty="0" smtClean="0"/>
              <a:t> server staan, problemen als deze plat ligt,…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6956F3-7789-E044-B7D3-F234CE1177F2}" type="slidenum">
              <a:rPr lang="en-US" smtClean="0">
                <a:latin typeface="Segoe UI" panose="020B0502040204020203" pitchFamily="34" charset="0"/>
              </a:rPr>
              <a:t>33</a:t>
            </a:fld>
            <a:endParaRPr lang="en-US" dirty="0"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7643985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BE" dirty="0" smtClean="0"/>
              <a:t>Je</a:t>
            </a:r>
            <a:r>
              <a:rPr lang="nl-BE" baseline="0" dirty="0" smtClean="0"/>
              <a:t> ontwikkelmachine blijft clea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6956F3-7789-E044-B7D3-F234CE1177F2}" type="slidenum">
              <a:rPr lang="en-US" smtClean="0">
                <a:latin typeface="Segoe UI" panose="020B0502040204020203" pitchFamily="34" charset="0"/>
              </a:rPr>
              <a:t>34</a:t>
            </a:fld>
            <a:endParaRPr lang="en-US" dirty="0"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6111130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6956F3-7789-E044-B7D3-F234CE1177F2}" type="slidenum">
              <a:rPr lang="en-US" smtClean="0">
                <a:latin typeface="Segoe UI" panose="020B0502040204020203" pitchFamily="34" charset="0"/>
              </a:rPr>
              <a:t>35</a:t>
            </a:fld>
            <a:endParaRPr lang="en-US" dirty="0"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09826173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6956F3-7789-E044-B7D3-F234CE1177F2}" type="slidenum">
              <a:rPr lang="en-US" smtClean="0">
                <a:latin typeface="Segoe UI" panose="020B0502040204020203" pitchFamily="34" charset="0"/>
              </a:rPr>
              <a:t>36</a:t>
            </a:fld>
            <a:endParaRPr lang="en-US" dirty="0"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06072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6956F3-7789-E044-B7D3-F234CE1177F2}" type="slidenum">
              <a:rPr lang="en-US" smtClean="0">
                <a:latin typeface="Segoe UI" panose="020B0502040204020203" pitchFamily="34" charset="0"/>
              </a:rPr>
              <a:t>3</a:t>
            </a:fld>
            <a:endParaRPr lang="en-US" dirty="0"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356406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6956F3-7789-E044-B7D3-F234CE1177F2}" type="slidenum">
              <a:rPr lang="en-US" smtClean="0">
                <a:latin typeface="Segoe UI" panose="020B0502040204020203" pitchFamily="34" charset="0"/>
              </a:rPr>
              <a:t>4</a:t>
            </a:fld>
            <a:endParaRPr lang="en-US" dirty="0"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268658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6956F3-7789-E044-B7D3-F234CE1177F2}" type="slidenum">
              <a:rPr lang="en-US" smtClean="0">
                <a:latin typeface="Segoe UI" panose="020B0502040204020203" pitchFamily="34" charset="0"/>
              </a:rPr>
              <a:t>6</a:t>
            </a:fld>
            <a:endParaRPr lang="en-US" dirty="0"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985225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6956F3-7789-E044-B7D3-F234CE1177F2}" type="slidenum">
              <a:rPr lang="en-US" smtClean="0">
                <a:latin typeface="Segoe UI" panose="020B0502040204020203" pitchFamily="34" charset="0"/>
              </a:rPr>
              <a:t>7</a:t>
            </a:fld>
            <a:endParaRPr lang="en-US" dirty="0"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970947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6956F3-7789-E044-B7D3-F234CE1177F2}" type="slidenum">
              <a:rPr lang="en-US" smtClean="0">
                <a:latin typeface="Segoe UI" panose="020B0502040204020203" pitchFamily="34" charset="0"/>
              </a:rPr>
              <a:t>8</a:t>
            </a:fld>
            <a:endParaRPr lang="en-US" dirty="0"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5115692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6956F3-7789-E044-B7D3-F234CE1177F2}" type="slidenum">
              <a:rPr lang="en-US" smtClean="0">
                <a:latin typeface="Segoe UI" panose="020B0502040204020203" pitchFamily="34" charset="0"/>
              </a:rPr>
              <a:t>9</a:t>
            </a:fld>
            <a:endParaRPr lang="en-US" dirty="0"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312962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6956F3-7789-E044-B7D3-F234CE1177F2}" type="slidenum">
              <a:rPr lang="en-US" smtClean="0">
                <a:latin typeface="Segoe UI" panose="020B0502040204020203" pitchFamily="34" charset="0"/>
              </a:rPr>
              <a:t>10</a:t>
            </a:fld>
            <a:endParaRPr lang="en-US" dirty="0"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91653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_With Graphic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27355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03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41338" y="981076"/>
            <a:ext cx="6798764" cy="2653402"/>
          </a:xfrm>
        </p:spPr>
        <p:txBody>
          <a:bodyPr anchor="b">
            <a:noAutofit/>
          </a:bodyPr>
          <a:lstStyle>
            <a:lvl1pPr algn="l">
              <a:defRPr sz="5400">
                <a:solidFill>
                  <a:srgbClr val="0070C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41337" y="3885777"/>
            <a:ext cx="6798763" cy="1787490"/>
          </a:xfrm>
        </p:spPr>
        <p:txBody>
          <a:bodyPr>
            <a:noAutofit/>
          </a:bodyPr>
          <a:lstStyle>
            <a:lvl1pPr marL="0" indent="0" algn="l">
              <a:spcBef>
                <a:spcPts val="1200"/>
              </a:spcBef>
              <a:buNone/>
              <a:defRPr sz="2800">
                <a:solidFill>
                  <a:srgbClr val="0070C0"/>
                </a:solidFill>
              </a:defRPr>
            </a:lvl1pPr>
            <a:lvl2pPr marL="555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1102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653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2205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756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3307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85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4410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peaker name</a:t>
            </a:r>
          </a:p>
          <a:p>
            <a:r>
              <a:rPr lang="en-US" dirty="0" smtClean="0"/>
              <a:t>Speaker org</a:t>
            </a:r>
          </a:p>
        </p:txBody>
      </p:sp>
      <p:grpSp>
        <p:nvGrpSpPr>
          <p:cNvPr id="182" name="Group 181"/>
          <p:cNvGrpSpPr/>
          <p:nvPr userDrawn="1"/>
        </p:nvGrpSpPr>
        <p:grpSpPr>
          <a:xfrm flipH="1">
            <a:off x="7050214" y="4544"/>
            <a:ext cx="5386261" cy="6989981"/>
            <a:chOff x="0" y="4544"/>
            <a:chExt cx="5386261" cy="6989981"/>
          </a:xfrm>
        </p:grpSpPr>
        <p:sp>
          <p:nvSpPr>
            <p:cNvPr id="183" name="Rectangle 182"/>
            <p:cNvSpPr>
              <a:spLocks noChangeArrowheads="1"/>
            </p:cNvSpPr>
            <p:nvPr/>
          </p:nvSpPr>
          <p:spPr bwMode="auto">
            <a:xfrm>
              <a:off x="1538264" y="9221"/>
              <a:ext cx="3847997" cy="69806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</a:endParaRPr>
            </a:p>
          </p:txBody>
        </p:sp>
        <p:sp>
          <p:nvSpPr>
            <p:cNvPr id="184" name="Freeform 183"/>
            <p:cNvSpPr>
              <a:spLocks/>
            </p:cNvSpPr>
            <p:nvPr/>
          </p:nvSpPr>
          <p:spPr bwMode="auto">
            <a:xfrm>
              <a:off x="0" y="4544"/>
              <a:ext cx="4979485" cy="6989981"/>
            </a:xfrm>
            <a:custGeom>
              <a:avLst/>
              <a:gdLst>
                <a:gd name="T0" fmla="*/ 0 w 1065"/>
                <a:gd name="T1" fmla="*/ 0 h 1495"/>
                <a:gd name="T2" fmla="*/ 0 w 1065"/>
                <a:gd name="T3" fmla="*/ 690 h 1495"/>
                <a:gd name="T4" fmla="*/ 0 w 1065"/>
                <a:gd name="T5" fmla="*/ 1055 h 1495"/>
                <a:gd name="T6" fmla="*/ 0 w 1065"/>
                <a:gd name="T7" fmla="*/ 1495 h 1495"/>
                <a:gd name="T8" fmla="*/ 654 w 1065"/>
                <a:gd name="T9" fmla="*/ 1495 h 1495"/>
                <a:gd name="T10" fmla="*/ 567 w 1065"/>
                <a:gd name="T11" fmla="*/ 997 h 1495"/>
                <a:gd name="T12" fmla="*/ 656 w 1065"/>
                <a:gd name="T13" fmla="*/ 765 h 1495"/>
                <a:gd name="T14" fmla="*/ 797 w 1065"/>
                <a:gd name="T15" fmla="*/ 1289 h 1495"/>
                <a:gd name="T16" fmla="*/ 787 w 1065"/>
                <a:gd name="T17" fmla="*/ 1494 h 1495"/>
                <a:gd name="T18" fmla="*/ 1050 w 1065"/>
                <a:gd name="T19" fmla="*/ 1494 h 1495"/>
                <a:gd name="T20" fmla="*/ 1065 w 1065"/>
                <a:gd name="T21" fmla="*/ 1255 h 1495"/>
                <a:gd name="T22" fmla="*/ 785 w 1065"/>
                <a:gd name="T23" fmla="*/ 112 h 1495"/>
                <a:gd name="T24" fmla="*/ 567 w 1065"/>
                <a:gd name="T25" fmla="*/ 0 h 1495"/>
                <a:gd name="T26" fmla="*/ 0 w 1065"/>
                <a:gd name="T27" fmla="*/ 0 h 1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65" h="1495">
                  <a:moveTo>
                    <a:pt x="0" y="0"/>
                  </a:moveTo>
                  <a:lnTo>
                    <a:pt x="0" y="690"/>
                  </a:lnTo>
                  <a:lnTo>
                    <a:pt x="0" y="1055"/>
                  </a:lnTo>
                  <a:lnTo>
                    <a:pt x="0" y="1495"/>
                  </a:lnTo>
                  <a:lnTo>
                    <a:pt x="654" y="1495"/>
                  </a:lnTo>
                  <a:lnTo>
                    <a:pt x="567" y="997"/>
                  </a:lnTo>
                  <a:lnTo>
                    <a:pt x="656" y="765"/>
                  </a:lnTo>
                  <a:lnTo>
                    <a:pt x="797" y="1289"/>
                  </a:lnTo>
                  <a:lnTo>
                    <a:pt x="787" y="1494"/>
                  </a:lnTo>
                  <a:lnTo>
                    <a:pt x="1050" y="1494"/>
                  </a:lnTo>
                  <a:lnTo>
                    <a:pt x="1065" y="1255"/>
                  </a:lnTo>
                  <a:lnTo>
                    <a:pt x="785" y="112"/>
                  </a:lnTo>
                  <a:lnTo>
                    <a:pt x="56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7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</a:endParaRPr>
            </a:p>
          </p:txBody>
        </p:sp>
        <p:sp>
          <p:nvSpPr>
            <p:cNvPr id="185" name="Freeform 184"/>
            <p:cNvSpPr>
              <a:spLocks/>
            </p:cNvSpPr>
            <p:nvPr/>
          </p:nvSpPr>
          <p:spPr bwMode="auto">
            <a:xfrm>
              <a:off x="0" y="4544"/>
              <a:ext cx="4979485" cy="6989981"/>
            </a:xfrm>
            <a:custGeom>
              <a:avLst/>
              <a:gdLst>
                <a:gd name="T0" fmla="*/ 0 w 1065"/>
                <a:gd name="T1" fmla="*/ 0 h 1495"/>
                <a:gd name="T2" fmla="*/ 0 w 1065"/>
                <a:gd name="T3" fmla="*/ 690 h 1495"/>
                <a:gd name="T4" fmla="*/ 0 w 1065"/>
                <a:gd name="T5" fmla="*/ 1055 h 1495"/>
                <a:gd name="T6" fmla="*/ 0 w 1065"/>
                <a:gd name="T7" fmla="*/ 1495 h 1495"/>
                <a:gd name="T8" fmla="*/ 654 w 1065"/>
                <a:gd name="T9" fmla="*/ 1495 h 1495"/>
                <a:gd name="T10" fmla="*/ 567 w 1065"/>
                <a:gd name="T11" fmla="*/ 997 h 1495"/>
                <a:gd name="T12" fmla="*/ 656 w 1065"/>
                <a:gd name="T13" fmla="*/ 765 h 1495"/>
                <a:gd name="T14" fmla="*/ 797 w 1065"/>
                <a:gd name="T15" fmla="*/ 1289 h 1495"/>
                <a:gd name="T16" fmla="*/ 787 w 1065"/>
                <a:gd name="T17" fmla="*/ 1494 h 1495"/>
                <a:gd name="T18" fmla="*/ 1050 w 1065"/>
                <a:gd name="T19" fmla="*/ 1494 h 1495"/>
                <a:gd name="T20" fmla="*/ 1065 w 1065"/>
                <a:gd name="T21" fmla="*/ 1255 h 1495"/>
                <a:gd name="T22" fmla="*/ 785 w 1065"/>
                <a:gd name="T23" fmla="*/ 112 h 1495"/>
                <a:gd name="T24" fmla="*/ 567 w 1065"/>
                <a:gd name="T25" fmla="*/ 0 h 1495"/>
                <a:gd name="T26" fmla="*/ 0 w 1065"/>
                <a:gd name="T27" fmla="*/ 0 h 1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65" h="1495">
                  <a:moveTo>
                    <a:pt x="0" y="0"/>
                  </a:moveTo>
                  <a:lnTo>
                    <a:pt x="0" y="690"/>
                  </a:lnTo>
                  <a:lnTo>
                    <a:pt x="0" y="1055"/>
                  </a:lnTo>
                  <a:lnTo>
                    <a:pt x="0" y="1495"/>
                  </a:lnTo>
                  <a:lnTo>
                    <a:pt x="654" y="1495"/>
                  </a:lnTo>
                  <a:lnTo>
                    <a:pt x="567" y="997"/>
                  </a:lnTo>
                  <a:lnTo>
                    <a:pt x="656" y="765"/>
                  </a:lnTo>
                  <a:lnTo>
                    <a:pt x="797" y="1289"/>
                  </a:lnTo>
                  <a:lnTo>
                    <a:pt x="787" y="1494"/>
                  </a:lnTo>
                  <a:lnTo>
                    <a:pt x="1050" y="1494"/>
                  </a:lnTo>
                  <a:lnTo>
                    <a:pt x="1065" y="1255"/>
                  </a:lnTo>
                  <a:lnTo>
                    <a:pt x="785" y="112"/>
                  </a:lnTo>
                  <a:lnTo>
                    <a:pt x="567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</a:endParaRPr>
            </a:p>
          </p:txBody>
        </p:sp>
        <p:sp>
          <p:nvSpPr>
            <p:cNvPr id="186" name="Freeform 185"/>
            <p:cNvSpPr>
              <a:spLocks/>
            </p:cNvSpPr>
            <p:nvPr/>
          </p:nvSpPr>
          <p:spPr bwMode="auto">
            <a:xfrm>
              <a:off x="2136738" y="2150633"/>
              <a:ext cx="88837" cy="1683206"/>
            </a:xfrm>
            <a:custGeom>
              <a:avLst/>
              <a:gdLst>
                <a:gd name="T0" fmla="*/ 19 w 19"/>
                <a:gd name="T1" fmla="*/ 360 h 360"/>
                <a:gd name="T2" fmla="*/ 0 w 19"/>
                <a:gd name="T3" fmla="*/ 360 h 360"/>
                <a:gd name="T4" fmla="*/ 0 w 19"/>
                <a:gd name="T5" fmla="*/ 0 h 360"/>
                <a:gd name="T6" fmla="*/ 19 w 19"/>
                <a:gd name="T7" fmla="*/ 41 h 360"/>
                <a:gd name="T8" fmla="*/ 19 w 19"/>
                <a:gd name="T9" fmla="*/ 36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360">
                  <a:moveTo>
                    <a:pt x="19" y="360"/>
                  </a:moveTo>
                  <a:lnTo>
                    <a:pt x="0" y="360"/>
                  </a:lnTo>
                  <a:lnTo>
                    <a:pt x="0" y="0"/>
                  </a:lnTo>
                  <a:lnTo>
                    <a:pt x="19" y="41"/>
                  </a:lnTo>
                  <a:lnTo>
                    <a:pt x="19" y="360"/>
                  </a:lnTo>
                  <a:close/>
                </a:path>
              </a:pathLst>
            </a:custGeom>
            <a:solidFill>
              <a:srgbClr val="BA14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</a:endParaRPr>
            </a:p>
          </p:txBody>
        </p:sp>
        <p:sp>
          <p:nvSpPr>
            <p:cNvPr id="187" name="Rectangle 186"/>
            <p:cNvSpPr>
              <a:spLocks noChangeArrowheads="1"/>
            </p:cNvSpPr>
            <p:nvPr/>
          </p:nvSpPr>
          <p:spPr bwMode="auto">
            <a:xfrm>
              <a:off x="2375190" y="2702350"/>
              <a:ext cx="130916" cy="1131488"/>
            </a:xfrm>
            <a:prstGeom prst="rect">
              <a:avLst/>
            </a:pr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</a:endParaRPr>
            </a:p>
          </p:txBody>
        </p:sp>
        <p:sp>
          <p:nvSpPr>
            <p:cNvPr id="188" name="Rectangle 187"/>
            <p:cNvSpPr>
              <a:spLocks noChangeArrowheads="1"/>
            </p:cNvSpPr>
            <p:nvPr/>
          </p:nvSpPr>
          <p:spPr bwMode="auto">
            <a:xfrm>
              <a:off x="2506106" y="2702350"/>
              <a:ext cx="70135" cy="1131488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</a:endParaRPr>
            </a:p>
          </p:txBody>
        </p:sp>
        <p:sp>
          <p:nvSpPr>
            <p:cNvPr id="189" name="Rectangle 188"/>
            <p:cNvSpPr>
              <a:spLocks noChangeArrowheads="1"/>
            </p:cNvSpPr>
            <p:nvPr/>
          </p:nvSpPr>
          <p:spPr bwMode="auto">
            <a:xfrm>
              <a:off x="2375190" y="2473246"/>
              <a:ext cx="130916" cy="229104"/>
            </a:xfrm>
            <a:prstGeom prst="rect">
              <a:avLst/>
            </a:prstGeom>
            <a:solidFill>
              <a:srgbClr val="00B2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</a:endParaRPr>
            </a:p>
          </p:txBody>
        </p:sp>
        <p:sp>
          <p:nvSpPr>
            <p:cNvPr id="190" name="Rectangle 189"/>
            <p:cNvSpPr>
              <a:spLocks noChangeArrowheads="1"/>
            </p:cNvSpPr>
            <p:nvPr/>
          </p:nvSpPr>
          <p:spPr bwMode="auto">
            <a:xfrm>
              <a:off x="2506106" y="2473246"/>
              <a:ext cx="70135" cy="229104"/>
            </a:xfrm>
            <a:prstGeom prst="rect">
              <a:avLst/>
            </a:pr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</a:endParaRPr>
            </a:p>
          </p:txBody>
        </p:sp>
        <p:sp>
          <p:nvSpPr>
            <p:cNvPr id="191" name="Freeform 190"/>
            <p:cNvSpPr>
              <a:spLocks/>
            </p:cNvSpPr>
            <p:nvPr/>
          </p:nvSpPr>
          <p:spPr bwMode="auto">
            <a:xfrm>
              <a:off x="2375190" y="2337656"/>
              <a:ext cx="201051" cy="135593"/>
            </a:xfrm>
            <a:custGeom>
              <a:avLst/>
              <a:gdLst>
                <a:gd name="T0" fmla="*/ 91 w 91"/>
                <a:gd name="T1" fmla="*/ 61 h 61"/>
                <a:gd name="T2" fmla="*/ 91 w 91"/>
                <a:gd name="T3" fmla="*/ 30 h 61"/>
                <a:gd name="T4" fmla="*/ 61 w 91"/>
                <a:gd name="T5" fmla="*/ 0 h 61"/>
                <a:gd name="T6" fmla="*/ 29 w 91"/>
                <a:gd name="T7" fmla="*/ 0 h 61"/>
                <a:gd name="T8" fmla="*/ 0 w 91"/>
                <a:gd name="T9" fmla="*/ 30 h 61"/>
                <a:gd name="T10" fmla="*/ 0 w 91"/>
                <a:gd name="T11" fmla="*/ 61 h 61"/>
                <a:gd name="T12" fmla="*/ 91 w 91"/>
                <a:gd name="T13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1" h="61">
                  <a:moveTo>
                    <a:pt x="91" y="61"/>
                  </a:moveTo>
                  <a:cubicBezTo>
                    <a:pt x="91" y="30"/>
                    <a:pt x="91" y="30"/>
                    <a:pt x="91" y="30"/>
                  </a:cubicBezTo>
                  <a:cubicBezTo>
                    <a:pt x="91" y="30"/>
                    <a:pt x="91" y="0"/>
                    <a:pt x="61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0"/>
                    <a:pt x="0" y="0"/>
                    <a:pt x="0" y="30"/>
                  </a:cubicBezTo>
                  <a:cubicBezTo>
                    <a:pt x="0" y="61"/>
                    <a:pt x="0" y="61"/>
                    <a:pt x="0" y="61"/>
                  </a:cubicBezTo>
                  <a:lnTo>
                    <a:pt x="91" y="61"/>
                  </a:lnTo>
                  <a:close/>
                </a:path>
              </a:pathLst>
            </a:custGeom>
            <a:solidFill>
              <a:srgbClr val="EC0B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</a:endParaRPr>
            </a:p>
          </p:txBody>
        </p:sp>
        <p:sp>
          <p:nvSpPr>
            <p:cNvPr id="192" name="Freeform 191"/>
            <p:cNvSpPr>
              <a:spLocks/>
            </p:cNvSpPr>
            <p:nvPr/>
          </p:nvSpPr>
          <p:spPr bwMode="auto">
            <a:xfrm>
              <a:off x="2122709" y="1355786"/>
              <a:ext cx="355343" cy="757443"/>
            </a:xfrm>
            <a:custGeom>
              <a:avLst/>
              <a:gdLst>
                <a:gd name="T0" fmla="*/ 0 w 76"/>
                <a:gd name="T1" fmla="*/ 0 h 162"/>
                <a:gd name="T2" fmla="*/ 0 w 76"/>
                <a:gd name="T3" fmla="*/ 119 h 162"/>
                <a:gd name="T4" fmla="*/ 20 w 76"/>
                <a:gd name="T5" fmla="*/ 162 h 162"/>
                <a:gd name="T6" fmla="*/ 56 w 76"/>
                <a:gd name="T7" fmla="*/ 162 h 162"/>
                <a:gd name="T8" fmla="*/ 76 w 76"/>
                <a:gd name="T9" fmla="*/ 119 h 162"/>
                <a:gd name="T10" fmla="*/ 76 w 76"/>
                <a:gd name="T11" fmla="*/ 0 h 162"/>
                <a:gd name="T12" fmla="*/ 0 w 76"/>
                <a:gd name="T13" fmla="*/ 0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" h="162">
                  <a:moveTo>
                    <a:pt x="0" y="0"/>
                  </a:moveTo>
                  <a:lnTo>
                    <a:pt x="0" y="119"/>
                  </a:lnTo>
                  <a:lnTo>
                    <a:pt x="20" y="162"/>
                  </a:lnTo>
                  <a:lnTo>
                    <a:pt x="56" y="162"/>
                  </a:lnTo>
                  <a:lnTo>
                    <a:pt x="76" y="119"/>
                  </a:lnTo>
                  <a:lnTo>
                    <a:pt x="7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</a:endParaRPr>
            </a:p>
          </p:txBody>
        </p:sp>
        <p:sp>
          <p:nvSpPr>
            <p:cNvPr id="193" name="Rectangle 192"/>
            <p:cNvSpPr>
              <a:spLocks noChangeArrowheads="1"/>
            </p:cNvSpPr>
            <p:nvPr/>
          </p:nvSpPr>
          <p:spPr bwMode="auto">
            <a:xfrm>
              <a:off x="2174142" y="1407215"/>
              <a:ext cx="252481" cy="444181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</a:endParaRPr>
            </a:p>
          </p:txBody>
        </p:sp>
        <p:sp>
          <p:nvSpPr>
            <p:cNvPr id="194" name="Rectangle 193"/>
            <p:cNvSpPr>
              <a:spLocks noChangeArrowheads="1"/>
            </p:cNvSpPr>
            <p:nvPr/>
          </p:nvSpPr>
          <p:spPr bwMode="auto">
            <a:xfrm>
              <a:off x="2262976" y="2085175"/>
              <a:ext cx="70135" cy="126242"/>
            </a:xfrm>
            <a:prstGeom prst="rect">
              <a:avLst/>
            </a:pr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</a:endParaRPr>
            </a:p>
          </p:txBody>
        </p:sp>
        <p:sp>
          <p:nvSpPr>
            <p:cNvPr id="195" name="Rectangle 194"/>
            <p:cNvSpPr>
              <a:spLocks noChangeArrowheads="1"/>
            </p:cNvSpPr>
            <p:nvPr/>
          </p:nvSpPr>
          <p:spPr bwMode="auto">
            <a:xfrm>
              <a:off x="2174142" y="1234221"/>
              <a:ext cx="252481" cy="12156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</a:endParaRPr>
            </a:p>
          </p:txBody>
        </p:sp>
        <p:sp>
          <p:nvSpPr>
            <p:cNvPr id="196" name="Rectangle 19"/>
            <p:cNvSpPr>
              <a:spLocks noChangeArrowheads="1"/>
            </p:cNvSpPr>
            <p:nvPr/>
          </p:nvSpPr>
          <p:spPr bwMode="auto">
            <a:xfrm>
              <a:off x="2291030" y="2211414"/>
              <a:ext cx="18702" cy="164580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</a:endParaRPr>
            </a:p>
          </p:txBody>
        </p:sp>
        <p:sp>
          <p:nvSpPr>
            <p:cNvPr id="197" name="Rectangle 20"/>
            <p:cNvSpPr>
              <a:spLocks noChangeArrowheads="1"/>
            </p:cNvSpPr>
            <p:nvPr/>
          </p:nvSpPr>
          <p:spPr bwMode="auto">
            <a:xfrm>
              <a:off x="2375190" y="2463895"/>
              <a:ext cx="201051" cy="3273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</a:endParaRPr>
            </a:p>
          </p:txBody>
        </p:sp>
        <p:sp>
          <p:nvSpPr>
            <p:cNvPr id="198" name="Freeform 21"/>
            <p:cNvSpPr>
              <a:spLocks/>
            </p:cNvSpPr>
            <p:nvPr/>
          </p:nvSpPr>
          <p:spPr bwMode="auto">
            <a:xfrm>
              <a:off x="2375190" y="2463895"/>
              <a:ext cx="201051" cy="32730"/>
            </a:xfrm>
            <a:custGeom>
              <a:avLst/>
              <a:gdLst>
                <a:gd name="T0" fmla="*/ 43 w 43"/>
                <a:gd name="T1" fmla="*/ 7 h 7"/>
                <a:gd name="T2" fmla="*/ 43 w 43"/>
                <a:gd name="T3" fmla="*/ 0 h 7"/>
                <a:gd name="T4" fmla="*/ 0 w 43"/>
                <a:gd name="T5" fmla="*/ 0 h 7"/>
                <a:gd name="T6" fmla="*/ 0 w 43"/>
                <a:gd name="T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" h="7">
                  <a:moveTo>
                    <a:pt x="43" y="7"/>
                  </a:moveTo>
                  <a:lnTo>
                    <a:pt x="43" y="0"/>
                  </a:lnTo>
                  <a:lnTo>
                    <a:pt x="0" y="0"/>
                  </a:lnTo>
                  <a:lnTo>
                    <a:pt x="0" y="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</a:endParaRPr>
            </a:p>
          </p:txBody>
        </p:sp>
        <p:sp>
          <p:nvSpPr>
            <p:cNvPr id="199" name="Rectangle 22"/>
            <p:cNvSpPr>
              <a:spLocks noChangeArrowheads="1"/>
            </p:cNvSpPr>
            <p:nvPr/>
          </p:nvSpPr>
          <p:spPr bwMode="auto">
            <a:xfrm>
              <a:off x="1421374" y="2150633"/>
              <a:ext cx="715364" cy="1683206"/>
            </a:xfrm>
            <a:prstGeom prst="rect">
              <a:avLst/>
            </a:prstGeom>
            <a:solidFill>
              <a:srgbClr val="DC3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</a:endParaRPr>
            </a:p>
          </p:txBody>
        </p:sp>
        <p:sp>
          <p:nvSpPr>
            <p:cNvPr id="200" name="Freeform 23"/>
            <p:cNvSpPr>
              <a:spLocks/>
            </p:cNvSpPr>
            <p:nvPr/>
          </p:nvSpPr>
          <p:spPr bwMode="auto">
            <a:xfrm>
              <a:off x="1500860" y="2267521"/>
              <a:ext cx="556394" cy="98188"/>
            </a:xfrm>
            <a:custGeom>
              <a:avLst/>
              <a:gdLst>
                <a:gd name="T0" fmla="*/ 21 w 253"/>
                <a:gd name="T1" fmla="*/ 0 h 45"/>
                <a:gd name="T2" fmla="*/ 0 w 253"/>
                <a:gd name="T3" fmla="*/ 20 h 45"/>
                <a:gd name="T4" fmla="*/ 0 w 253"/>
                <a:gd name="T5" fmla="*/ 24 h 45"/>
                <a:gd name="T6" fmla="*/ 21 w 253"/>
                <a:gd name="T7" fmla="*/ 45 h 45"/>
                <a:gd name="T8" fmla="*/ 232 w 253"/>
                <a:gd name="T9" fmla="*/ 45 h 45"/>
                <a:gd name="T10" fmla="*/ 253 w 253"/>
                <a:gd name="T11" fmla="*/ 24 h 45"/>
                <a:gd name="T12" fmla="*/ 253 w 253"/>
                <a:gd name="T13" fmla="*/ 20 h 45"/>
                <a:gd name="T14" fmla="*/ 232 w 253"/>
                <a:gd name="T15" fmla="*/ 0 h 45"/>
                <a:gd name="T16" fmla="*/ 135 w 253"/>
                <a:gd name="T17" fmla="*/ 0 h 45"/>
                <a:gd name="T18" fmla="*/ 21 w 253"/>
                <a:gd name="T19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3" h="45">
                  <a:moveTo>
                    <a:pt x="21" y="0"/>
                  </a:moveTo>
                  <a:cubicBezTo>
                    <a:pt x="21" y="0"/>
                    <a:pt x="0" y="0"/>
                    <a:pt x="0" y="20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45"/>
                    <a:pt x="21" y="45"/>
                  </a:cubicBezTo>
                  <a:cubicBezTo>
                    <a:pt x="232" y="45"/>
                    <a:pt x="232" y="45"/>
                    <a:pt x="232" y="45"/>
                  </a:cubicBezTo>
                  <a:cubicBezTo>
                    <a:pt x="232" y="45"/>
                    <a:pt x="253" y="45"/>
                    <a:pt x="253" y="24"/>
                  </a:cubicBezTo>
                  <a:cubicBezTo>
                    <a:pt x="253" y="20"/>
                    <a:pt x="253" y="20"/>
                    <a:pt x="253" y="20"/>
                  </a:cubicBezTo>
                  <a:cubicBezTo>
                    <a:pt x="253" y="20"/>
                    <a:pt x="253" y="0"/>
                    <a:pt x="232" y="0"/>
                  </a:cubicBezTo>
                  <a:cubicBezTo>
                    <a:pt x="135" y="0"/>
                    <a:pt x="135" y="0"/>
                    <a:pt x="135" y="0"/>
                  </a:cubicBezTo>
                  <a:lnTo>
                    <a:pt x="21" y="0"/>
                  </a:lnTo>
                  <a:close/>
                </a:path>
              </a:pathLst>
            </a:custGeom>
            <a:solidFill>
              <a:srgbClr val="BA14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</a:endParaRPr>
            </a:p>
          </p:txBody>
        </p:sp>
        <p:sp>
          <p:nvSpPr>
            <p:cNvPr id="201" name="Freeform 24"/>
            <p:cNvSpPr>
              <a:spLocks/>
            </p:cNvSpPr>
            <p:nvPr/>
          </p:nvSpPr>
          <p:spPr bwMode="auto">
            <a:xfrm>
              <a:off x="1500860" y="2440518"/>
              <a:ext cx="556394" cy="98188"/>
            </a:xfrm>
            <a:custGeom>
              <a:avLst/>
              <a:gdLst>
                <a:gd name="T0" fmla="*/ 21 w 253"/>
                <a:gd name="T1" fmla="*/ 0 h 44"/>
                <a:gd name="T2" fmla="*/ 0 w 253"/>
                <a:gd name="T3" fmla="*/ 20 h 44"/>
                <a:gd name="T4" fmla="*/ 0 w 253"/>
                <a:gd name="T5" fmla="*/ 24 h 44"/>
                <a:gd name="T6" fmla="*/ 21 w 253"/>
                <a:gd name="T7" fmla="*/ 44 h 44"/>
                <a:gd name="T8" fmla="*/ 232 w 253"/>
                <a:gd name="T9" fmla="*/ 44 h 44"/>
                <a:gd name="T10" fmla="*/ 253 w 253"/>
                <a:gd name="T11" fmla="*/ 24 h 44"/>
                <a:gd name="T12" fmla="*/ 253 w 253"/>
                <a:gd name="T13" fmla="*/ 20 h 44"/>
                <a:gd name="T14" fmla="*/ 232 w 253"/>
                <a:gd name="T15" fmla="*/ 0 h 44"/>
                <a:gd name="T16" fmla="*/ 135 w 253"/>
                <a:gd name="T17" fmla="*/ 0 h 44"/>
                <a:gd name="T18" fmla="*/ 21 w 253"/>
                <a:gd name="T19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3" h="44">
                  <a:moveTo>
                    <a:pt x="21" y="0"/>
                  </a:moveTo>
                  <a:cubicBezTo>
                    <a:pt x="21" y="0"/>
                    <a:pt x="0" y="0"/>
                    <a:pt x="0" y="20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44"/>
                    <a:pt x="21" y="44"/>
                  </a:cubicBezTo>
                  <a:cubicBezTo>
                    <a:pt x="232" y="44"/>
                    <a:pt x="232" y="44"/>
                    <a:pt x="232" y="44"/>
                  </a:cubicBezTo>
                  <a:cubicBezTo>
                    <a:pt x="232" y="44"/>
                    <a:pt x="253" y="44"/>
                    <a:pt x="253" y="24"/>
                  </a:cubicBezTo>
                  <a:cubicBezTo>
                    <a:pt x="253" y="20"/>
                    <a:pt x="253" y="20"/>
                    <a:pt x="253" y="20"/>
                  </a:cubicBezTo>
                  <a:cubicBezTo>
                    <a:pt x="253" y="20"/>
                    <a:pt x="253" y="0"/>
                    <a:pt x="232" y="0"/>
                  </a:cubicBezTo>
                  <a:cubicBezTo>
                    <a:pt x="135" y="0"/>
                    <a:pt x="135" y="0"/>
                    <a:pt x="135" y="0"/>
                  </a:cubicBezTo>
                  <a:lnTo>
                    <a:pt x="21" y="0"/>
                  </a:lnTo>
                  <a:close/>
                </a:path>
              </a:pathLst>
            </a:custGeom>
            <a:solidFill>
              <a:srgbClr val="BA14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</a:endParaRPr>
            </a:p>
          </p:txBody>
        </p:sp>
        <p:sp>
          <p:nvSpPr>
            <p:cNvPr id="202" name="Freeform 25"/>
            <p:cNvSpPr>
              <a:spLocks/>
            </p:cNvSpPr>
            <p:nvPr/>
          </p:nvSpPr>
          <p:spPr bwMode="auto">
            <a:xfrm>
              <a:off x="1500860" y="2613513"/>
              <a:ext cx="556394" cy="98188"/>
            </a:xfrm>
            <a:custGeom>
              <a:avLst/>
              <a:gdLst>
                <a:gd name="T0" fmla="*/ 21 w 253"/>
                <a:gd name="T1" fmla="*/ 0 h 44"/>
                <a:gd name="T2" fmla="*/ 0 w 253"/>
                <a:gd name="T3" fmla="*/ 20 h 44"/>
                <a:gd name="T4" fmla="*/ 0 w 253"/>
                <a:gd name="T5" fmla="*/ 24 h 44"/>
                <a:gd name="T6" fmla="*/ 21 w 253"/>
                <a:gd name="T7" fmla="*/ 44 h 44"/>
                <a:gd name="T8" fmla="*/ 232 w 253"/>
                <a:gd name="T9" fmla="*/ 44 h 44"/>
                <a:gd name="T10" fmla="*/ 253 w 253"/>
                <a:gd name="T11" fmla="*/ 24 h 44"/>
                <a:gd name="T12" fmla="*/ 253 w 253"/>
                <a:gd name="T13" fmla="*/ 20 h 44"/>
                <a:gd name="T14" fmla="*/ 232 w 253"/>
                <a:gd name="T15" fmla="*/ 0 h 44"/>
                <a:gd name="T16" fmla="*/ 135 w 253"/>
                <a:gd name="T17" fmla="*/ 0 h 44"/>
                <a:gd name="T18" fmla="*/ 21 w 253"/>
                <a:gd name="T19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3" h="44">
                  <a:moveTo>
                    <a:pt x="21" y="0"/>
                  </a:moveTo>
                  <a:cubicBezTo>
                    <a:pt x="21" y="0"/>
                    <a:pt x="0" y="0"/>
                    <a:pt x="0" y="20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44"/>
                    <a:pt x="21" y="44"/>
                  </a:cubicBezTo>
                  <a:cubicBezTo>
                    <a:pt x="232" y="44"/>
                    <a:pt x="232" y="44"/>
                    <a:pt x="232" y="44"/>
                  </a:cubicBezTo>
                  <a:cubicBezTo>
                    <a:pt x="232" y="44"/>
                    <a:pt x="253" y="44"/>
                    <a:pt x="253" y="24"/>
                  </a:cubicBezTo>
                  <a:cubicBezTo>
                    <a:pt x="253" y="20"/>
                    <a:pt x="253" y="20"/>
                    <a:pt x="253" y="20"/>
                  </a:cubicBezTo>
                  <a:cubicBezTo>
                    <a:pt x="253" y="20"/>
                    <a:pt x="253" y="0"/>
                    <a:pt x="232" y="0"/>
                  </a:cubicBezTo>
                  <a:cubicBezTo>
                    <a:pt x="135" y="0"/>
                    <a:pt x="135" y="0"/>
                    <a:pt x="135" y="0"/>
                  </a:cubicBezTo>
                  <a:lnTo>
                    <a:pt x="21" y="0"/>
                  </a:lnTo>
                  <a:close/>
                </a:path>
              </a:pathLst>
            </a:custGeom>
            <a:solidFill>
              <a:srgbClr val="BA14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</a:endParaRPr>
            </a:p>
          </p:txBody>
        </p:sp>
        <p:sp>
          <p:nvSpPr>
            <p:cNvPr id="203" name="Freeform 26"/>
            <p:cNvSpPr>
              <a:spLocks/>
            </p:cNvSpPr>
            <p:nvPr/>
          </p:nvSpPr>
          <p:spPr bwMode="auto">
            <a:xfrm>
              <a:off x="1500860" y="2786511"/>
              <a:ext cx="556394" cy="98188"/>
            </a:xfrm>
            <a:custGeom>
              <a:avLst/>
              <a:gdLst>
                <a:gd name="T0" fmla="*/ 21 w 253"/>
                <a:gd name="T1" fmla="*/ 0 h 44"/>
                <a:gd name="T2" fmla="*/ 0 w 253"/>
                <a:gd name="T3" fmla="*/ 20 h 44"/>
                <a:gd name="T4" fmla="*/ 0 w 253"/>
                <a:gd name="T5" fmla="*/ 24 h 44"/>
                <a:gd name="T6" fmla="*/ 21 w 253"/>
                <a:gd name="T7" fmla="*/ 44 h 44"/>
                <a:gd name="T8" fmla="*/ 232 w 253"/>
                <a:gd name="T9" fmla="*/ 44 h 44"/>
                <a:gd name="T10" fmla="*/ 253 w 253"/>
                <a:gd name="T11" fmla="*/ 24 h 44"/>
                <a:gd name="T12" fmla="*/ 253 w 253"/>
                <a:gd name="T13" fmla="*/ 20 h 44"/>
                <a:gd name="T14" fmla="*/ 232 w 253"/>
                <a:gd name="T15" fmla="*/ 0 h 44"/>
                <a:gd name="T16" fmla="*/ 135 w 253"/>
                <a:gd name="T17" fmla="*/ 0 h 44"/>
                <a:gd name="T18" fmla="*/ 21 w 253"/>
                <a:gd name="T19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3" h="44">
                  <a:moveTo>
                    <a:pt x="21" y="0"/>
                  </a:moveTo>
                  <a:cubicBezTo>
                    <a:pt x="21" y="0"/>
                    <a:pt x="0" y="0"/>
                    <a:pt x="0" y="20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44"/>
                    <a:pt x="21" y="44"/>
                  </a:cubicBezTo>
                  <a:cubicBezTo>
                    <a:pt x="232" y="44"/>
                    <a:pt x="232" y="44"/>
                    <a:pt x="232" y="44"/>
                  </a:cubicBezTo>
                  <a:cubicBezTo>
                    <a:pt x="232" y="44"/>
                    <a:pt x="253" y="44"/>
                    <a:pt x="253" y="24"/>
                  </a:cubicBezTo>
                  <a:cubicBezTo>
                    <a:pt x="253" y="20"/>
                    <a:pt x="253" y="20"/>
                    <a:pt x="253" y="20"/>
                  </a:cubicBezTo>
                  <a:cubicBezTo>
                    <a:pt x="253" y="20"/>
                    <a:pt x="253" y="0"/>
                    <a:pt x="232" y="0"/>
                  </a:cubicBezTo>
                  <a:cubicBezTo>
                    <a:pt x="135" y="0"/>
                    <a:pt x="135" y="0"/>
                    <a:pt x="135" y="0"/>
                  </a:cubicBezTo>
                  <a:lnTo>
                    <a:pt x="21" y="0"/>
                  </a:lnTo>
                  <a:close/>
                </a:path>
              </a:pathLst>
            </a:custGeom>
            <a:solidFill>
              <a:srgbClr val="BA14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</a:endParaRPr>
            </a:p>
          </p:txBody>
        </p:sp>
        <p:sp>
          <p:nvSpPr>
            <p:cNvPr id="204" name="Freeform 27"/>
            <p:cNvSpPr>
              <a:spLocks/>
            </p:cNvSpPr>
            <p:nvPr/>
          </p:nvSpPr>
          <p:spPr bwMode="auto">
            <a:xfrm>
              <a:off x="1500860" y="2964182"/>
              <a:ext cx="556394" cy="93511"/>
            </a:xfrm>
            <a:custGeom>
              <a:avLst/>
              <a:gdLst>
                <a:gd name="T0" fmla="*/ 21 w 253"/>
                <a:gd name="T1" fmla="*/ 0 h 44"/>
                <a:gd name="T2" fmla="*/ 0 w 253"/>
                <a:gd name="T3" fmla="*/ 20 h 44"/>
                <a:gd name="T4" fmla="*/ 0 w 253"/>
                <a:gd name="T5" fmla="*/ 24 h 44"/>
                <a:gd name="T6" fmla="*/ 21 w 253"/>
                <a:gd name="T7" fmla="*/ 44 h 44"/>
                <a:gd name="T8" fmla="*/ 232 w 253"/>
                <a:gd name="T9" fmla="*/ 44 h 44"/>
                <a:gd name="T10" fmla="*/ 253 w 253"/>
                <a:gd name="T11" fmla="*/ 24 h 44"/>
                <a:gd name="T12" fmla="*/ 253 w 253"/>
                <a:gd name="T13" fmla="*/ 20 h 44"/>
                <a:gd name="T14" fmla="*/ 232 w 253"/>
                <a:gd name="T15" fmla="*/ 0 h 44"/>
                <a:gd name="T16" fmla="*/ 135 w 253"/>
                <a:gd name="T17" fmla="*/ 0 h 44"/>
                <a:gd name="T18" fmla="*/ 21 w 253"/>
                <a:gd name="T19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3" h="44">
                  <a:moveTo>
                    <a:pt x="21" y="0"/>
                  </a:moveTo>
                  <a:cubicBezTo>
                    <a:pt x="21" y="0"/>
                    <a:pt x="0" y="0"/>
                    <a:pt x="0" y="20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44"/>
                    <a:pt x="21" y="44"/>
                  </a:cubicBezTo>
                  <a:cubicBezTo>
                    <a:pt x="232" y="44"/>
                    <a:pt x="232" y="44"/>
                    <a:pt x="232" y="44"/>
                  </a:cubicBezTo>
                  <a:cubicBezTo>
                    <a:pt x="232" y="44"/>
                    <a:pt x="253" y="44"/>
                    <a:pt x="253" y="24"/>
                  </a:cubicBezTo>
                  <a:cubicBezTo>
                    <a:pt x="253" y="20"/>
                    <a:pt x="253" y="20"/>
                    <a:pt x="253" y="20"/>
                  </a:cubicBezTo>
                  <a:cubicBezTo>
                    <a:pt x="253" y="20"/>
                    <a:pt x="253" y="0"/>
                    <a:pt x="232" y="0"/>
                  </a:cubicBezTo>
                  <a:cubicBezTo>
                    <a:pt x="135" y="0"/>
                    <a:pt x="135" y="0"/>
                    <a:pt x="135" y="0"/>
                  </a:cubicBezTo>
                  <a:lnTo>
                    <a:pt x="21" y="0"/>
                  </a:lnTo>
                  <a:close/>
                </a:path>
              </a:pathLst>
            </a:custGeom>
            <a:solidFill>
              <a:srgbClr val="BA14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</a:endParaRPr>
            </a:p>
          </p:txBody>
        </p:sp>
        <p:sp>
          <p:nvSpPr>
            <p:cNvPr id="205" name="Freeform 28"/>
            <p:cNvSpPr>
              <a:spLocks/>
            </p:cNvSpPr>
            <p:nvPr/>
          </p:nvSpPr>
          <p:spPr bwMode="auto">
            <a:xfrm>
              <a:off x="1500860" y="3137177"/>
              <a:ext cx="556394" cy="93511"/>
            </a:xfrm>
            <a:custGeom>
              <a:avLst/>
              <a:gdLst>
                <a:gd name="T0" fmla="*/ 21 w 253"/>
                <a:gd name="T1" fmla="*/ 0 h 44"/>
                <a:gd name="T2" fmla="*/ 0 w 253"/>
                <a:gd name="T3" fmla="*/ 20 h 44"/>
                <a:gd name="T4" fmla="*/ 0 w 253"/>
                <a:gd name="T5" fmla="*/ 24 h 44"/>
                <a:gd name="T6" fmla="*/ 21 w 253"/>
                <a:gd name="T7" fmla="*/ 44 h 44"/>
                <a:gd name="T8" fmla="*/ 232 w 253"/>
                <a:gd name="T9" fmla="*/ 44 h 44"/>
                <a:gd name="T10" fmla="*/ 253 w 253"/>
                <a:gd name="T11" fmla="*/ 24 h 44"/>
                <a:gd name="T12" fmla="*/ 253 w 253"/>
                <a:gd name="T13" fmla="*/ 20 h 44"/>
                <a:gd name="T14" fmla="*/ 232 w 253"/>
                <a:gd name="T15" fmla="*/ 0 h 44"/>
                <a:gd name="T16" fmla="*/ 135 w 253"/>
                <a:gd name="T17" fmla="*/ 0 h 44"/>
                <a:gd name="T18" fmla="*/ 21 w 253"/>
                <a:gd name="T19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3" h="44">
                  <a:moveTo>
                    <a:pt x="21" y="0"/>
                  </a:moveTo>
                  <a:cubicBezTo>
                    <a:pt x="21" y="0"/>
                    <a:pt x="0" y="0"/>
                    <a:pt x="0" y="20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44"/>
                    <a:pt x="21" y="44"/>
                  </a:cubicBezTo>
                  <a:cubicBezTo>
                    <a:pt x="232" y="44"/>
                    <a:pt x="232" y="44"/>
                    <a:pt x="232" y="44"/>
                  </a:cubicBezTo>
                  <a:cubicBezTo>
                    <a:pt x="232" y="44"/>
                    <a:pt x="253" y="44"/>
                    <a:pt x="253" y="24"/>
                  </a:cubicBezTo>
                  <a:cubicBezTo>
                    <a:pt x="253" y="20"/>
                    <a:pt x="253" y="20"/>
                    <a:pt x="253" y="20"/>
                  </a:cubicBezTo>
                  <a:cubicBezTo>
                    <a:pt x="253" y="20"/>
                    <a:pt x="253" y="0"/>
                    <a:pt x="232" y="0"/>
                  </a:cubicBezTo>
                  <a:cubicBezTo>
                    <a:pt x="135" y="0"/>
                    <a:pt x="135" y="0"/>
                    <a:pt x="135" y="0"/>
                  </a:cubicBezTo>
                  <a:lnTo>
                    <a:pt x="21" y="0"/>
                  </a:lnTo>
                  <a:close/>
                </a:path>
              </a:pathLst>
            </a:custGeom>
            <a:solidFill>
              <a:srgbClr val="BA14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</a:endParaRPr>
            </a:p>
          </p:txBody>
        </p:sp>
        <p:sp>
          <p:nvSpPr>
            <p:cNvPr id="206" name="Freeform 29"/>
            <p:cNvSpPr>
              <a:spLocks/>
            </p:cNvSpPr>
            <p:nvPr/>
          </p:nvSpPr>
          <p:spPr bwMode="auto">
            <a:xfrm>
              <a:off x="1500860" y="3310175"/>
              <a:ext cx="556394" cy="98188"/>
            </a:xfrm>
            <a:custGeom>
              <a:avLst/>
              <a:gdLst>
                <a:gd name="T0" fmla="*/ 21 w 253"/>
                <a:gd name="T1" fmla="*/ 0 h 45"/>
                <a:gd name="T2" fmla="*/ 0 w 253"/>
                <a:gd name="T3" fmla="*/ 21 h 45"/>
                <a:gd name="T4" fmla="*/ 0 w 253"/>
                <a:gd name="T5" fmla="*/ 25 h 45"/>
                <a:gd name="T6" fmla="*/ 21 w 253"/>
                <a:gd name="T7" fmla="*/ 45 h 45"/>
                <a:gd name="T8" fmla="*/ 232 w 253"/>
                <a:gd name="T9" fmla="*/ 45 h 45"/>
                <a:gd name="T10" fmla="*/ 253 w 253"/>
                <a:gd name="T11" fmla="*/ 25 h 45"/>
                <a:gd name="T12" fmla="*/ 253 w 253"/>
                <a:gd name="T13" fmla="*/ 21 h 45"/>
                <a:gd name="T14" fmla="*/ 232 w 253"/>
                <a:gd name="T15" fmla="*/ 0 h 45"/>
                <a:gd name="T16" fmla="*/ 135 w 253"/>
                <a:gd name="T17" fmla="*/ 0 h 45"/>
                <a:gd name="T18" fmla="*/ 21 w 253"/>
                <a:gd name="T19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3" h="45">
                  <a:moveTo>
                    <a:pt x="21" y="0"/>
                  </a:moveTo>
                  <a:cubicBezTo>
                    <a:pt x="21" y="0"/>
                    <a:pt x="0" y="0"/>
                    <a:pt x="0" y="21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5"/>
                    <a:pt x="0" y="45"/>
                    <a:pt x="21" y="45"/>
                  </a:cubicBezTo>
                  <a:cubicBezTo>
                    <a:pt x="232" y="45"/>
                    <a:pt x="232" y="45"/>
                    <a:pt x="232" y="45"/>
                  </a:cubicBezTo>
                  <a:cubicBezTo>
                    <a:pt x="232" y="45"/>
                    <a:pt x="253" y="45"/>
                    <a:pt x="253" y="25"/>
                  </a:cubicBezTo>
                  <a:cubicBezTo>
                    <a:pt x="253" y="21"/>
                    <a:pt x="253" y="21"/>
                    <a:pt x="253" y="21"/>
                  </a:cubicBezTo>
                  <a:cubicBezTo>
                    <a:pt x="253" y="21"/>
                    <a:pt x="253" y="0"/>
                    <a:pt x="232" y="0"/>
                  </a:cubicBezTo>
                  <a:cubicBezTo>
                    <a:pt x="135" y="0"/>
                    <a:pt x="135" y="0"/>
                    <a:pt x="135" y="0"/>
                  </a:cubicBezTo>
                  <a:lnTo>
                    <a:pt x="21" y="0"/>
                  </a:lnTo>
                  <a:close/>
                </a:path>
              </a:pathLst>
            </a:custGeom>
            <a:solidFill>
              <a:srgbClr val="BA14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</a:endParaRPr>
            </a:p>
          </p:txBody>
        </p:sp>
        <p:sp>
          <p:nvSpPr>
            <p:cNvPr id="207" name="Freeform 30"/>
            <p:cNvSpPr>
              <a:spLocks/>
            </p:cNvSpPr>
            <p:nvPr/>
          </p:nvSpPr>
          <p:spPr bwMode="auto">
            <a:xfrm>
              <a:off x="1500860" y="3483169"/>
              <a:ext cx="556394" cy="98188"/>
            </a:xfrm>
            <a:custGeom>
              <a:avLst/>
              <a:gdLst>
                <a:gd name="T0" fmla="*/ 21 w 253"/>
                <a:gd name="T1" fmla="*/ 0 h 45"/>
                <a:gd name="T2" fmla="*/ 0 w 253"/>
                <a:gd name="T3" fmla="*/ 21 h 45"/>
                <a:gd name="T4" fmla="*/ 0 w 253"/>
                <a:gd name="T5" fmla="*/ 25 h 45"/>
                <a:gd name="T6" fmla="*/ 21 w 253"/>
                <a:gd name="T7" fmla="*/ 45 h 45"/>
                <a:gd name="T8" fmla="*/ 232 w 253"/>
                <a:gd name="T9" fmla="*/ 45 h 45"/>
                <a:gd name="T10" fmla="*/ 253 w 253"/>
                <a:gd name="T11" fmla="*/ 25 h 45"/>
                <a:gd name="T12" fmla="*/ 253 w 253"/>
                <a:gd name="T13" fmla="*/ 21 h 45"/>
                <a:gd name="T14" fmla="*/ 232 w 253"/>
                <a:gd name="T15" fmla="*/ 0 h 45"/>
                <a:gd name="T16" fmla="*/ 135 w 253"/>
                <a:gd name="T17" fmla="*/ 0 h 45"/>
                <a:gd name="T18" fmla="*/ 21 w 253"/>
                <a:gd name="T19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3" h="45">
                  <a:moveTo>
                    <a:pt x="21" y="0"/>
                  </a:moveTo>
                  <a:cubicBezTo>
                    <a:pt x="21" y="0"/>
                    <a:pt x="0" y="0"/>
                    <a:pt x="0" y="21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5"/>
                    <a:pt x="0" y="45"/>
                    <a:pt x="21" y="45"/>
                  </a:cubicBezTo>
                  <a:cubicBezTo>
                    <a:pt x="232" y="45"/>
                    <a:pt x="232" y="45"/>
                    <a:pt x="232" y="45"/>
                  </a:cubicBezTo>
                  <a:cubicBezTo>
                    <a:pt x="232" y="45"/>
                    <a:pt x="253" y="45"/>
                    <a:pt x="253" y="25"/>
                  </a:cubicBezTo>
                  <a:cubicBezTo>
                    <a:pt x="253" y="21"/>
                    <a:pt x="253" y="21"/>
                    <a:pt x="253" y="21"/>
                  </a:cubicBezTo>
                  <a:cubicBezTo>
                    <a:pt x="253" y="21"/>
                    <a:pt x="253" y="0"/>
                    <a:pt x="232" y="0"/>
                  </a:cubicBezTo>
                  <a:cubicBezTo>
                    <a:pt x="135" y="0"/>
                    <a:pt x="135" y="0"/>
                    <a:pt x="135" y="0"/>
                  </a:cubicBezTo>
                  <a:lnTo>
                    <a:pt x="21" y="0"/>
                  </a:lnTo>
                  <a:close/>
                </a:path>
              </a:pathLst>
            </a:custGeom>
            <a:solidFill>
              <a:srgbClr val="BA14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</a:endParaRPr>
            </a:p>
          </p:txBody>
        </p:sp>
        <p:sp>
          <p:nvSpPr>
            <p:cNvPr id="208" name="Oval 31"/>
            <p:cNvSpPr>
              <a:spLocks noChangeArrowheads="1"/>
            </p:cNvSpPr>
            <p:nvPr/>
          </p:nvSpPr>
          <p:spPr bwMode="auto">
            <a:xfrm>
              <a:off x="1949715" y="2286223"/>
              <a:ext cx="56107" cy="56107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</a:endParaRPr>
            </a:p>
          </p:txBody>
        </p:sp>
        <p:sp>
          <p:nvSpPr>
            <p:cNvPr id="209" name="Oval 32"/>
            <p:cNvSpPr>
              <a:spLocks noChangeArrowheads="1"/>
            </p:cNvSpPr>
            <p:nvPr/>
          </p:nvSpPr>
          <p:spPr bwMode="auto">
            <a:xfrm>
              <a:off x="1949715" y="2459221"/>
              <a:ext cx="56107" cy="56107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</a:endParaRPr>
            </a:p>
          </p:txBody>
        </p:sp>
        <p:sp>
          <p:nvSpPr>
            <p:cNvPr id="210" name="Oval 33"/>
            <p:cNvSpPr>
              <a:spLocks noChangeArrowheads="1"/>
            </p:cNvSpPr>
            <p:nvPr/>
          </p:nvSpPr>
          <p:spPr bwMode="auto">
            <a:xfrm>
              <a:off x="1949715" y="2632215"/>
              <a:ext cx="56107" cy="56107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</a:endParaRPr>
            </a:p>
          </p:txBody>
        </p:sp>
        <p:sp>
          <p:nvSpPr>
            <p:cNvPr id="211" name="Oval 34"/>
            <p:cNvSpPr>
              <a:spLocks noChangeArrowheads="1"/>
            </p:cNvSpPr>
            <p:nvPr/>
          </p:nvSpPr>
          <p:spPr bwMode="auto">
            <a:xfrm>
              <a:off x="1949715" y="2809887"/>
              <a:ext cx="56107" cy="5143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</a:endParaRPr>
            </a:p>
          </p:txBody>
        </p:sp>
        <p:sp>
          <p:nvSpPr>
            <p:cNvPr id="212" name="Oval 35"/>
            <p:cNvSpPr>
              <a:spLocks noChangeArrowheads="1"/>
            </p:cNvSpPr>
            <p:nvPr/>
          </p:nvSpPr>
          <p:spPr bwMode="auto">
            <a:xfrm>
              <a:off x="1949715" y="2982885"/>
              <a:ext cx="56107" cy="56107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</a:endParaRPr>
            </a:p>
          </p:txBody>
        </p:sp>
        <p:sp>
          <p:nvSpPr>
            <p:cNvPr id="213" name="Oval 36"/>
            <p:cNvSpPr>
              <a:spLocks noChangeArrowheads="1"/>
            </p:cNvSpPr>
            <p:nvPr/>
          </p:nvSpPr>
          <p:spPr bwMode="auto">
            <a:xfrm>
              <a:off x="1949715" y="3155879"/>
              <a:ext cx="56107" cy="56107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</a:endParaRPr>
            </a:p>
          </p:txBody>
        </p:sp>
        <p:sp>
          <p:nvSpPr>
            <p:cNvPr id="214" name="Oval 37"/>
            <p:cNvSpPr>
              <a:spLocks noChangeArrowheads="1"/>
            </p:cNvSpPr>
            <p:nvPr/>
          </p:nvSpPr>
          <p:spPr bwMode="auto">
            <a:xfrm>
              <a:off x="1949715" y="3328877"/>
              <a:ext cx="56107" cy="56107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</a:endParaRPr>
            </a:p>
          </p:txBody>
        </p:sp>
        <p:sp>
          <p:nvSpPr>
            <p:cNvPr id="215" name="Oval 38"/>
            <p:cNvSpPr>
              <a:spLocks noChangeArrowheads="1"/>
            </p:cNvSpPr>
            <p:nvPr/>
          </p:nvSpPr>
          <p:spPr bwMode="auto">
            <a:xfrm>
              <a:off x="1949715" y="3501872"/>
              <a:ext cx="56107" cy="56107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</a:endParaRPr>
            </a:p>
          </p:txBody>
        </p:sp>
        <p:sp>
          <p:nvSpPr>
            <p:cNvPr id="216" name="Freeform 39"/>
            <p:cNvSpPr>
              <a:spLocks/>
            </p:cNvSpPr>
            <p:nvPr/>
          </p:nvSpPr>
          <p:spPr bwMode="auto">
            <a:xfrm>
              <a:off x="1500860" y="3656167"/>
              <a:ext cx="556394" cy="98188"/>
            </a:xfrm>
            <a:custGeom>
              <a:avLst/>
              <a:gdLst>
                <a:gd name="T0" fmla="*/ 21 w 253"/>
                <a:gd name="T1" fmla="*/ 0 h 45"/>
                <a:gd name="T2" fmla="*/ 0 w 253"/>
                <a:gd name="T3" fmla="*/ 20 h 45"/>
                <a:gd name="T4" fmla="*/ 0 w 253"/>
                <a:gd name="T5" fmla="*/ 24 h 45"/>
                <a:gd name="T6" fmla="*/ 21 w 253"/>
                <a:gd name="T7" fmla="*/ 45 h 45"/>
                <a:gd name="T8" fmla="*/ 232 w 253"/>
                <a:gd name="T9" fmla="*/ 45 h 45"/>
                <a:gd name="T10" fmla="*/ 253 w 253"/>
                <a:gd name="T11" fmla="*/ 24 h 45"/>
                <a:gd name="T12" fmla="*/ 253 w 253"/>
                <a:gd name="T13" fmla="*/ 20 h 45"/>
                <a:gd name="T14" fmla="*/ 232 w 253"/>
                <a:gd name="T15" fmla="*/ 0 h 45"/>
                <a:gd name="T16" fmla="*/ 135 w 253"/>
                <a:gd name="T17" fmla="*/ 0 h 45"/>
                <a:gd name="T18" fmla="*/ 21 w 253"/>
                <a:gd name="T19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3" h="45">
                  <a:moveTo>
                    <a:pt x="21" y="0"/>
                  </a:moveTo>
                  <a:cubicBezTo>
                    <a:pt x="21" y="0"/>
                    <a:pt x="0" y="0"/>
                    <a:pt x="0" y="20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45"/>
                    <a:pt x="21" y="45"/>
                  </a:cubicBezTo>
                  <a:cubicBezTo>
                    <a:pt x="232" y="45"/>
                    <a:pt x="232" y="45"/>
                    <a:pt x="232" y="45"/>
                  </a:cubicBezTo>
                  <a:cubicBezTo>
                    <a:pt x="232" y="45"/>
                    <a:pt x="253" y="45"/>
                    <a:pt x="253" y="24"/>
                  </a:cubicBezTo>
                  <a:cubicBezTo>
                    <a:pt x="253" y="20"/>
                    <a:pt x="253" y="20"/>
                    <a:pt x="253" y="20"/>
                  </a:cubicBezTo>
                  <a:cubicBezTo>
                    <a:pt x="253" y="20"/>
                    <a:pt x="253" y="0"/>
                    <a:pt x="232" y="0"/>
                  </a:cubicBezTo>
                  <a:cubicBezTo>
                    <a:pt x="135" y="0"/>
                    <a:pt x="135" y="0"/>
                    <a:pt x="135" y="0"/>
                  </a:cubicBezTo>
                  <a:lnTo>
                    <a:pt x="21" y="0"/>
                  </a:lnTo>
                  <a:close/>
                </a:path>
              </a:pathLst>
            </a:custGeom>
            <a:solidFill>
              <a:srgbClr val="BA14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</a:endParaRPr>
            </a:p>
          </p:txBody>
        </p:sp>
        <p:sp>
          <p:nvSpPr>
            <p:cNvPr id="217" name="Oval 40"/>
            <p:cNvSpPr>
              <a:spLocks noChangeArrowheads="1"/>
            </p:cNvSpPr>
            <p:nvPr/>
          </p:nvSpPr>
          <p:spPr bwMode="auto">
            <a:xfrm>
              <a:off x="1753341" y="3679543"/>
              <a:ext cx="51433" cy="5143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</a:endParaRPr>
            </a:p>
          </p:txBody>
        </p:sp>
        <p:sp>
          <p:nvSpPr>
            <p:cNvPr id="218" name="Freeform 41"/>
            <p:cNvSpPr>
              <a:spLocks/>
            </p:cNvSpPr>
            <p:nvPr/>
          </p:nvSpPr>
          <p:spPr bwMode="auto">
            <a:xfrm>
              <a:off x="1056679" y="3137177"/>
              <a:ext cx="364695" cy="84160"/>
            </a:xfrm>
            <a:custGeom>
              <a:avLst/>
              <a:gdLst>
                <a:gd name="T0" fmla="*/ 78 w 166"/>
                <a:gd name="T1" fmla="*/ 15 h 38"/>
                <a:gd name="T2" fmla="*/ 166 w 166"/>
                <a:gd name="T3" fmla="*/ 38 h 38"/>
                <a:gd name="T4" fmla="*/ 166 w 166"/>
                <a:gd name="T5" fmla="*/ 10 h 38"/>
                <a:gd name="T6" fmla="*/ 106 w 166"/>
                <a:gd name="T7" fmla="*/ 0 h 38"/>
                <a:gd name="T8" fmla="*/ 0 w 166"/>
                <a:gd name="T9" fmla="*/ 32 h 38"/>
                <a:gd name="T10" fmla="*/ 78 w 166"/>
                <a:gd name="T11" fmla="*/ 1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6" h="38">
                  <a:moveTo>
                    <a:pt x="78" y="15"/>
                  </a:moveTo>
                  <a:cubicBezTo>
                    <a:pt x="110" y="15"/>
                    <a:pt x="140" y="23"/>
                    <a:pt x="166" y="38"/>
                  </a:cubicBezTo>
                  <a:cubicBezTo>
                    <a:pt x="166" y="10"/>
                    <a:pt x="166" y="10"/>
                    <a:pt x="166" y="10"/>
                  </a:cubicBezTo>
                  <a:cubicBezTo>
                    <a:pt x="147" y="3"/>
                    <a:pt x="127" y="0"/>
                    <a:pt x="106" y="0"/>
                  </a:cubicBezTo>
                  <a:cubicBezTo>
                    <a:pt x="67" y="0"/>
                    <a:pt x="30" y="12"/>
                    <a:pt x="0" y="32"/>
                  </a:cubicBezTo>
                  <a:cubicBezTo>
                    <a:pt x="24" y="21"/>
                    <a:pt x="50" y="15"/>
                    <a:pt x="78" y="15"/>
                  </a:cubicBezTo>
                </a:path>
              </a:pathLst>
            </a:custGeom>
            <a:solidFill>
              <a:srgbClr val="4423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</a:endParaRPr>
            </a:p>
          </p:txBody>
        </p:sp>
        <p:sp>
          <p:nvSpPr>
            <p:cNvPr id="219" name="Freeform 42"/>
            <p:cNvSpPr>
              <a:spLocks/>
            </p:cNvSpPr>
            <p:nvPr/>
          </p:nvSpPr>
          <p:spPr bwMode="auto">
            <a:xfrm>
              <a:off x="1421374" y="3155879"/>
              <a:ext cx="617175" cy="677959"/>
            </a:xfrm>
            <a:custGeom>
              <a:avLst/>
              <a:gdLst>
                <a:gd name="T0" fmla="*/ 280 w 280"/>
                <a:gd name="T1" fmla="*/ 232 h 306"/>
                <a:gd name="T2" fmla="*/ 151 w 280"/>
                <a:gd name="T3" fmla="*/ 103 h 306"/>
                <a:gd name="T4" fmla="*/ 115 w 280"/>
                <a:gd name="T5" fmla="*/ 108 h 306"/>
                <a:gd name="T6" fmla="*/ 0 w 280"/>
                <a:gd name="T7" fmla="*/ 0 h 306"/>
                <a:gd name="T8" fmla="*/ 0 w 280"/>
                <a:gd name="T9" fmla="*/ 27 h 306"/>
                <a:gd name="T10" fmla="*/ 87 w 280"/>
                <a:gd name="T11" fmla="*/ 123 h 306"/>
                <a:gd name="T12" fmla="*/ 123 w 280"/>
                <a:gd name="T13" fmla="*/ 118 h 306"/>
                <a:gd name="T14" fmla="*/ 253 w 280"/>
                <a:gd name="T15" fmla="*/ 247 h 306"/>
                <a:gd name="T16" fmla="*/ 238 w 280"/>
                <a:gd name="T17" fmla="*/ 306 h 306"/>
                <a:gd name="T18" fmla="*/ 267 w 280"/>
                <a:gd name="T19" fmla="*/ 306 h 306"/>
                <a:gd name="T20" fmla="*/ 280 w 280"/>
                <a:gd name="T21" fmla="*/ 232 h 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0" h="306">
                  <a:moveTo>
                    <a:pt x="280" y="232"/>
                  </a:moveTo>
                  <a:cubicBezTo>
                    <a:pt x="280" y="160"/>
                    <a:pt x="222" y="103"/>
                    <a:pt x="151" y="103"/>
                  </a:cubicBezTo>
                  <a:cubicBezTo>
                    <a:pt x="138" y="103"/>
                    <a:pt x="126" y="104"/>
                    <a:pt x="115" y="108"/>
                  </a:cubicBezTo>
                  <a:cubicBezTo>
                    <a:pt x="94" y="57"/>
                    <a:pt x="52" y="18"/>
                    <a:pt x="0" y="0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39" y="48"/>
                    <a:pt x="70" y="82"/>
                    <a:pt x="87" y="123"/>
                  </a:cubicBezTo>
                  <a:cubicBezTo>
                    <a:pt x="99" y="120"/>
                    <a:pt x="111" y="118"/>
                    <a:pt x="123" y="118"/>
                  </a:cubicBezTo>
                  <a:cubicBezTo>
                    <a:pt x="195" y="118"/>
                    <a:pt x="253" y="176"/>
                    <a:pt x="253" y="247"/>
                  </a:cubicBezTo>
                  <a:cubicBezTo>
                    <a:pt x="253" y="268"/>
                    <a:pt x="247" y="288"/>
                    <a:pt x="238" y="306"/>
                  </a:cubicBezTo>
                  <a:cubicBezTo>
                    <a:pt x="267" y="306"/>
                    <a:pt x="267" y="306"/>
                    <a:pt x="267" y="306"/>
                  </a:cubicBezTo>
                  <a:cubicBezTo>
                    <a:pt x="275" y="284"/>
                    <a:pt x="280" y="252"/>
                    <a:pt x="280" y="232"/>
                  </a:cubicBezTo>
                </a:path>
              </a:pathLst>
            </a:custGeom>
            <a:solidFill>
              <a:srgbClr val="BA14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</a:endParaRPr>
            </a:p>
          </p:txBody>
        </p:sp>
        <p:sp>
          <p:nvSpPr>
            <p:cNvPr id="220" name="Freeform 43"/>
            <p:cNvSpPr>
              <a:spLocks/>
            </p:cNvSpPr>
            <p:nvPr/>
          </p:nvSpPr>
          <p:spPr bwMode="auto">
            <a:xfrm>
              <a:off x="603150" y="3169907"/>
              <a:ext cx="1379295" cy="663931"/>
            </a:xfrm>
            <a:custGeom>
              <a:avLst/>
              <a:gdLst>
                <a:gd name="T0" fmla="*/ 610 w 625"/>
                <a:gd name="T1" fmla="*/ 301 h 301"/>
                <a:gd name="T2" fmla="*/ 625 w 625"/>
                <a:gd name="T3" fmla="*/ 242 h 301"/>
                <a:gd name="T4" fmla="*/ 495 w 625"/>
                <a:gd name="T5" fmla="*/ 113 h 301"/>
                <a:gd name="T6" fmla="*/ 459 w 625"/>
                <a:gd name="T7" fmla="*/ 118 h 301"/>
                <a:gd name="T8" fmla="*/ 284 w 625"/>
                <a:gd name="T9" fmla="*/ 0 h 301"/>
                <a:gd name="T10" fmla="*/ 95 w 625"/>
                <a:gd name="T11" fmla="*/ 178 h 301"/>
                <a:gd name="T12" fmla="*/ 0 w 625"/>
                <a:gd name="T13" fmla="*/ 276 h 301"/>
                <a:gd name="T14" fmla="*/ 3 w 625"/>
                <a:gd name="T15" fmla="*/ 301 h 301"/>
                <a:gd name="T16" fmla="*/ 610 w 625"/>
                <a:gd name="T17" fmla="*/ 301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25" h="301">
                  <a:moveTo>
                    <a:pt x="610" y="301"/>
                  </a:moveTo>
                  <a:cubicBezTo>
                    <a:pt x="619" y="283"/>
                    <a:pt x="625" y="263"/>
                    <a:pt x="625" y="242"/>
                  </a:cubicBezTo>
                  <a:cubicBezTo>
                    <a:pt x="625" y="171"/>
                    <a:pt x="567" y="113"/>
                    <a:pt x="495" y="113"/>
                  </a:cubicBezTo>
                  <a:cubicBezTo>
                    <a:pt x="483" y="113"/>
                    <a:pt x="471" y="115"/>
                    <a:pt x="459" y="118"/>
                  </a:cubicBezTo>
                  <a:cubicBezTo>
                    <a:pt x="431" y="49"/>
                    <a:pt x="363" y="0"/>
                    <a:pt x="284" y="0"/>
                  </a:cubicBezTo>
                  <a:cubicBezTo>
                    <a:pt x="183" y="0"/>
                    <a:pt x="101" y="79"/>
                    <a:pt x="95" y="178"/>
                  </a:cubicBezTo>
                  <a:cubicBezTo>
                    <a:pt x="42" y="180"/>
                    <a:pt x="0" y="223"/>
                    <a:pt x="0" y="276"/>
                  </a:cubicBezTo>
                  <a:cubicBezTo>
                    <a:pt x="0" y="285"/>
                    <a:pt x="1" y="293"/>
                    <a:pt x="3" y="301"/>
                  </a:cubicBezTo>
                  <a:lnTo>
                    <a:pt x="610" y="30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</a:endParaRPr>
            </a:p>
          </p:txBody>
        </p:sp>
        <p:sp>
          <p:nvSpPr>
            <p:cNvPr id="221" name="Rectangle 44"/>
            <p:cNvSpPr>
              <a:spLocks noChangeArrowheads="1"/>
            </p:cNvSpPr>
            <p:nvPr/>
          </p:nvSpPr>
          <p:spPr bwMode="auto">
            <a:xfrm>
              <a:off x="504962" y="3833839"/>
              <a:ext cx="2146089" cy="116891"/>
            </a:xfrm>
            <a:prstGeom prst="rect">
              <a:avLst/>
            </a:prstGeom>
            <a:solidFill>
              <a:srgbClr val="4423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</a:endParaRPr>
            </a:p>
          </p:txBody>
        </p:sp>
        <p:sp>
          <p:nvSpPr>
            <p:cNvPr id="222" name="Freeform 45"/>
            <p:cNvSpPr>
              <a:spLocks/>
            </p:cNvSpPr>
            <p:nvPr/>
          </p:nvSpPr>
          <p:spPr bwMode="auto">
            <a:xfrm>
              <a:off x="0" y="4221910"/>
              <a:ext cx="205725" cy="416127"/>
            </a:xfrm>
            <a:custGeom>
              <a:avLst/>
              <a:gdLst>
                <a:gd name="T0" fmla="*/ 0 w 94"/>
                <a:gd name="T1" fmla="*/ 0 h 188"/>
                <a:gd name="T2" fmla="*/ 94 w 94"/>
                <a:gd name="T3" fmla="*/ 94 h 188"/>
                <a:gd name="T4" fmla="*/ 0 w 94"/>
                <a:gd name="T5" fmla="*/ 188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4" h="188">
                  <a:moveTo>
                    <a:pt x="0" y="0"/>
                  </a:moveTo>
                  <a:cubicBezTo>
                    <a:pt x="52" y="0"/>
                    <a:pt x="94" y="42"/>
                    <a:pt x="94" y="94"/>
                  </a:cubicBezTo>
                  <a:cubicBezTo>
                    <a:pt x="94" y="146"/>
                    <a:pt x="52" y="188"/>
                    <a:pt x="0" y="188"/>
                  </a:cubicBezTo>
                </a:path>
              </a:pathLst>
            </a:custGeom>
            <a:solidFill>
              <a:srgbClr val="4423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</a:endParaRPr>
            </a:p>
          </p:txBody>
        </p:sp>
        <p:sp>
          <p:nvSpPr>
            <p:cNvPr id="223" name="Freeform 46"/>
            <p:cNvSpPr>
              <a:spLocks/>
            </p:cNvSpPr>
            <p:nvPr/>
          </p:nvSpPr>
          <p:spPr bwMode="auto">
            <a:xfrm>
              <a:off x="0" y="5287940"/>
              <a:ext cx="205725" cy="416127"/>
            </a:xfrm>
            <a:custGeom>
              <a:avLst/>
              <a:gdLst>
                <a:gd name="T0" fmla="*/ 0 w 94"/>
                <a:gd name="T1" fmla="*/ 0 h 188"/>
                <a:gd name="T2" fmla="*/ 94 w 94"/>
                <a:gd name="T3" fmla="*/ 94 h 188"/>
                <a:gd name="T4" fmla="*/ 0 w 94"/>
                <a:gd name="T5" fmla="*/ 188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4" h="188">
                  <a:moveTo>
                    <a:pt x="0" y="0"/>
                  </a:moveTo>
                  <a:cubicBezTo>
                    <a:pt x="52" y="0"/>
                    <a:pt x="94" y="42"/>
                    <a:pt x="94" y="94"/>
                  </a:cubicBezTo>
                  <a:cubicBezTo>
                    <a:pt x="94" y="146"/>
                    <a:pt x="52" y="188"/>
                    <a:pt x="0" y="188"/>
                  </a:cubicBezTo>
                </a:path>
              </a:pathLst>
            </a:custGeom>
            <a:solidFill>
              <a:srgbClr val="4423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</a:endParaRPr>
            </a:p>
          </p:txBody>
        </p:sp>
        <p:sp>
          <p:nvSpPr>
            <p:cNvPr id="224" name="Freeform 47"/>
            <p:cNvSpPr>
              <a:spLocks/>
            </p:cNvSpPr>
            <p:nvPr/>
          </p:nvSpPr>
          <p:spPr bwMode="auto">
            <a:xfrm>
              <a:off x="0" y="6353970"/>
              <a:ext cx="205725" cy="416127"/>
            </a:xfrm>
            <a:custGeom>
              <a:avLst/>
              <a:gdLst>
                <a:gd name="T0" fmla="*/ 0 w 94"/>
                <a:gd name="T1" fmla="*/ 0 h 188"/>
                <a:gd name="T2" fmla="*/ 94 w 94"/>
                <a:gd name="T3" fmla="*/ 94 h 188"/>
                <a:gd name="T4" fmla="*/ 0 w 94"/>
                <a:gd name="T5" fmla="*/ 188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4" h="188">
                  <a:moveTo>
                    <a:pt x="0" y="0"/>
                  </a:moveTo>
                  <a:cubicBezTo>
                    <a:pt x="52" y="0"/>
                    <a:pt x="94" y="42"/>
                    <a:pt x="94" y="94"/>
                  </a:cubicBezTo>
                  <a:cubicBezTo>
                    <a:pt x="94" y="146"/>
                    <a:pt x="52" y="188"/>
                    <a:pt x="0" y="188"/>
                  </a:cubicBezTo>
                </a:path>
              </a:pathLst>
            </a:custGeom>
            <a:solidFill>
              <a:srgbClr val="4423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</a:endParaRPr>
            </a:p>
          </p:txBody>
        </p:sp>
        <p:sp>
          <p:nvSpPr>
            <p:cNvPr id="225" name="Freeform 48"/>
            <p:cNvSpPr>
              <a:spLocks/>
            </p:cNvSpPr>
            <p:nvPr/>
          </p:nvSpPr>
          <p:spPr bwMode="auto">
            <a:xfrm>
              <a:off x="0" y="4544"/>
              <a:ext cx="1182921" cy="3226144"/>
            </a:xfrm>
            <a:custGeom>
              <a:avLst/>
              <a:gdLst>
                <a:gd name="T0" fmla="*/ 253 w 253"/>
                <a:gd name="T1" fmla="*/ 0 h 690"/>
                <a:gd name="T2" fmla="*/ 0 w 253"/>
                <a:gd name="T3" fmla="*/ 690 h 690"/>
                <a:gd name="T4" fmla="*/ 0 w 253"/>
                <a:gd name="T5" fmla="*/ 0 h 690"/>
                <a:gd name="T6" fmla="*/ 253 w 253"/>
                <a:gd name="T7" fmla="*/ 0 h 6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3" h="690">
                  <a:moveTo>
                    <a:pt x="253" y="0"/>
                  </a:moveTo>
                  <a:lnTo>
                    <a:pt x="0" y="690"/>
                  </a:lnTo>
                  <a:lnTo>
                    <a:pt x="0" y="0"/>
                  </a:lnTo>
                  <a:lnTo>
                    <a:pt x="253" y="0"/>
                  </a:ln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</a:endParaRPr>
            </a:p>
          </p:txBody>
        </p:sp>
        <p:sp>
          <p:nvSpPr>
            <p:cNvPr id="226" name="Freeform 49"/>
            <p:cNvSpPr>
              <a:spLocks/>
            </p:cNvSpPr>
            <p:nvPr/>
          </p:nvSpPr>
          <p:spPr bwMode="auto">
            <a:xfrm>
              <a:off x="0" y="4544"/>
              <a:ext cx="1182921" cy="3226144"/>
            </a:xfrm>
            <a:custGeom>
              <a:avLst/>
              <a:gdLst>
                <a:gd name="T0" fmla="*/ 253 w 253"/>
                <a:gd name="T1" fmla="*/ 0 h 690"/>
                <a:gd name="T2" fmla="*/ 0 w 253"/>
                <a:gd name="T3" fmla="*/ 690 h 690"/>
                <a:gd name="T4" fmla="*/ 0 w 253"/>
                <a:gd name="T5" fmla="*/ 0 h 690"/>
                <a:gd name="T6" fmla="*/ 253 w 253"/>
                <a:gd name="T7" fmla="*/ 0 h 6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3" h="690">
                  <a:moveTo>
                    <a:pt x="253" y="0"/>
                  </a:moveTo>
                  <a:lnTo>
                    <a:pt x="0" y="690"/>
                  </a:lnTo>
                  <a:lnTo>
                    <a:pt x="0" y="0"/>
                  </a:lnTo>
                  <a:lnTo>
                    <a:pt x="25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</a:endParaRPr>
            </a:p>
          </p:txBody>
        </p:sp>
        <p:sp>
          <p:nvSpPr>
            <p:cNvPr id="227" name="Freeform 50"/>
            <p:cNvSpPr>
              <a:spLocks/>
            </p:cNvSpPr>
            <p:nvPr/>
          </p:nvSpPr>
          <p:spPr bwMode="auto">
            <a:xfrm>
              <a:off x="0" y="1510078"/>
              <a:ext cx="888359" cy="2440648"/>
            </a:xfrm>
            <a:custGeom>
              <a:avLst/>
              <a:gdLst>
                <a:gd name="T0" fmla="*/ 0 w 190"/>
                <a:gd name="T1" fmla="*/ 522 h 522"/>
                <a:gd name="T2" fmla="*/ 190 w 190"/>
                <a:gd name="T3" fmla="*/ 0 h 522"/>
                <a:gd name="T4" fmla="*/ 0 w 190"/>
                <a:gd name="T5" fmla="*/ 0 h 522"/>
                <a:gd name="T6" fmla="*/ 0 w 190"/>
                <a:gd name="T7" fmla="*/ 522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0" h="522">
                  <a:moveTo>
                    <a:pt x="0" y="522"/>
                  </a:moveTo>
                  <a:lnTo>
                    <a:pt x="190" y="0"/>
                  </a:lnTo>
                  <a:lnTo>
                    <a:pt x="0" y="0"/>
                  </a:lnTo>
                  <a:lnTo>
                    <a:pt x="0" y="522"/>
                  </a:lnTo>
                  <a:close/>
                </a:path>
              </a:pathLst>
            </a:custGeom>
            <a:solidFill>
              <a:srgbClr val="E81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</a:endParaRPr>
            </a:p>
          </p:txBody>
        </p:sp>
        <p:sp>
          <p:nvSpPr>
            <p:cNvPr id="228" name="Freeform 51"/>
            <p:cNvSpPr>
              <a:spLocks/>
            </p:cNvSpPr>
            <p:nvPr/>
          </p:nvSpPr>
          <p:spPr bwMode="auto">
            <a:xfrm>
              <a:off x="0" y="1510078"/>
              <a:ext cx="888359" cy="2440648"/>
            </a:xfrm>
            <a:custGeom>
              <a:avLst/>
              <a:gdLst>
                <a:gd name="T0" fmla="*/ 0 w 190"/>
                <a:gd name="T1" fmla="*/ 522 h 522"/>
                <a:gd name="T2" fmla="*/ 190 w 190"/>
                <a:gd name="T3" fmla="*/ 0 h 522"/>
                <a:gd name="T4" fmla="*/ 0 w 190"/>
                <a:gd name="T5" fmla="*/ 0 h 522"/>
                <a:gd name="T6" fmla="*/ 0 w 190"/>
                <a:gd name="T7" fmla="*/ 522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0" h="522">
                  <a:moveTo>
                    <a:pt x="0" y="522"/>
                  </a:moveTo>
                  <a:lnTo>
                    <a:pt x="190" y="0"/>
                  </a:lnTo>
                  <a:lnTo>
                    <a:pt x="0" y="0"/>
                  </a:lnTo>
                  <a:lnTo>
                    <a:pt x="0" y="52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</a:endParaRPr>
            </a:p>
          </p:txBody>
        </p:sp>
        <p:sp>
          <p:nvSpPr>
            <p:cNvPr id="229" name="Freeform 52"/>
            <p:cNvSpPr>
              <a:spLocks/>
            </p:cNvSpPr>
            <p:nvPr/>
          </p:nvSpPr>
          <p:spPr bwMode="auto">
            <a:xfrm>
              <a:off x="504962" y="4544"/>
              <a:ext cx="1341890" cy="1846852"/>
            </a:xfrm>
            <a:custGeom>
              <a:avLst/>
              <a:gdLst>
                <a:gd name="T0" fmla="*/ 145 w 287"/>
                <a:gd name="T1" fmla="*/ 0 h 395"/>
                <a:gd name="T2" fmla="*/ 221 w 287"/>
                <a:gd name="T3" fmla="*/ 0 h 395"/>
                <a:gd name="T4" fmla="*/ 287 w 287"/>
                <a:gd name="T5" fmla="*/ 395 h 395"/>
                <a:gd name="T6" fmla="*/ 23 w 287"/>
                <a:gd name="T7" fmla="*/ 350 h 395"/>
                <a:gd name="T8" fmla="*/ 0 w 287"/>
                <a:gd name="T9" fmla="*/ 345 h 395"/>
                <a:gd name="T10" fmla="*/ 113 w 287"/>
                <a:gd name="T11" fmla="*/ 88 h 395"/>
                <a:gd name="T12" fmla="*/ 145 w 287"/>
                <a:gd name="T13" fmla="*/ 0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7" h="395">
                  <a:moveTo>
                    <a:pt x="145" y="0"/>
                  </a:moveTo>
                  <a:lnTo>
                    <a:pt x="221" y="0"/>
                  </a:lnTo>
                  <a:lnTo>
                    <a:pt x="287" y="395"/>
                  </a:lnTo>
                  <a:lnTo>
                    <a:pt x="23" y="350"/>
                  </a:lnTo>
                  <a:lnTo>
                    <a:pt x="0" y="345"/>
                  </a:lnTo>
                  <a:lnTo>
                    <a:pt x="113" y="88"/>
                  </a:lnTo>
                  <a:lnTo>
                    <a:pt x="14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</a:endParaRPr>
            </a:p>
          </p:txBody>
        </p:sp>
        <p:sp>
          <p:nvSpPr>
            <p:cNvPr id="230" name="Freeform 53"/>
            <p:cNvSpPr>
              <a:spLocks/>
            </p:cNvSpPr>
            <p:nvPr/>
          </p:nvSpPr>
          <p:spPr bwMode="auto">
            <a:xfrm>
              <a:off x="504962" y="4544"/>
              <a:ext cx="1341890" cy="1846852"/>
            </a:xfrm>
            <a:custGeom>
              <a:avLst/>
              <a:gdLst>
                <a:gd name="T0" fmla="*/ 145 w 287"/>
                <a:gd name="T1" fmla="*/ 0 h 395"/>
                <a:gd name="T2" fmla="*/ 221 w 287"/>
                <a:gd name="T3" fmla="*/ 0 h 395"/>
                <a:gd name="T4" fmla="*/ 287 w 287"/>
                <a:gd name="T5" fmla="*/ 395 h 395"/>
                <a:gd name="T6" fmla="*/ 23 w 287"/>
                <a:gd name="T7" fmla="*/ 350 h 395"/>
                <a:gd name="T8" fmla="*/ 0 w 287"/>
                <a:gd name="T9" fmla="*/ 345 h 395"/>
                <a:gd name="T10" fmla="*/ 113 w 287"/>
                <a:gd name="T11" fmla="*/ 88 h 395"/>
                <a:gd name="T12" fmla="*/ 145 w 287"/>
                <a:gd name="T13" fmla="*/ 0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7" h="395">
                  <a:moveTo>
                    <a:pt x="145" y="0"/>
                  </a:moveTo>
                  <a:lnTo>
                    <a:pt x="221" y="0"/>
                  </a:lnTo>
                  <a:lnTo>
                    <a:pt x="287" y="395"/>
                  </a:lnTo>
                  <a:lnTo>
                    <a:pt x="23" y="350"/>
                  </a:lnTo>
                  <a:lnTo>
                    <a:pt x="0" y="345"/>
                  </a:lnTo>
                  <a:lnTo>
                    <a:pt x="113" y="88"/>
                  </a:lnTo>
                  <a:lnTo>
                    <a:pt x="14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</a:endParaRPr>
            </a:p>
          </p:txBody>
        </p:sp>
        <p:sp>
          <p:nvSpPr>
            <p:cNvPr id="231" name="Freeform 54"/>
            <p:cNvSpPr>
              <a:spLocks/>
            </p:cNvSpPr>
            <p:nvPr/>
          </p:nvSpPr>
          <p:spPr bwMode="auto">
            <a:xfrm>
              <a:off x="0" y="1617618"/>
              <a:ext cx="1126814" cy="2389219"/>
            </a:xfrm>
            <a:custGeom>
              <a:avLst/>
              <a:gdLst>
                <a:gd name="T0" fmla="*/ 241 w 241"/>
                <a:gd name="T1" fmla="*/ 5 h 511"/>
                <a:gd name="T2" fmla="*/ 0 w 241"/>
                <a:gd name="T3" fmla="*/ 511 h 511"/>
                <a:gd name="T4" fmla="*/ 108 w 241"/>
                <a:gd name="T5" fmla="*/ 0 h 511"/>
                <a:gd name="T6" fmla="*/ 241 w 241"/>
                <a:gd name="T7" fmla="*/ 5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1" h="511">
                  <a:moveTo>
                    <a:pt x="241" y="5"/>
                  </a:moveTo>
                  <a:lnTo>
                    <a:pt x="0" y="511"/>
                  </a:lnTo>
                  <a:lnTo>
                    <a:pt x="108" y="0"/>
                  </a:lnTo>
                  <a:lnTo>
                    <a:pt x="241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</a:endParaRPr>
            </a:p>
          </p:txBody>
        </p:sp>
        <p:sp>
          <p:nvSpPr>
            <p:cNvPr id="232" name="Freeform 55"/>
            <p:cNvSpPr>
              <a:spLocks/>
            </p:cNvSpPr>
            <p:nvPr/>
          </p:nvSpPr>
          <p:spPr bwMode="auto">
            <a:xfrm>
              <a:off x="0" y="1617618"/>
              <a:ext cx="1126814" cy="2389219"/>
            </a:xfrm>
            <a:custGeom>
              <a:avLst/>
              <a:gdLst>
                <a:gd name="T0" fmla="*/ 241 w 241"/>
                <a:gd name="T1" fmla="*/ 5 h 511"/>
                <a:gd name="T2" fmla="*/ 0 w 241"/>
                <a:gd name="T3" fmla="*/ 511 h 511"/>
                <a:gd name="T4" fmla="*/ 108 w 241"/>
                <a:gd name="T5" fmla="*/ 0 h 511"/>
                <a:gd name="T6" fmla="*/ 241 w 241"/>
                <a:gd name="T7" fmla="*/ 5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1" h="511">
                  <a:moveTo>
                    <a:pt x="241" y="5"/>
                  </a:moveTo>
                  <a:lnTo>
                    <a:pt x="0" y="511"/>
                  </a:lnTo>
                  <a:lnTo>
                    <a:pt x="108" y="0"/>
                  </a:lnTo>
                  <a:lnTo>
                    <a:pt x="241" y="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</a:endParaRPr>
            </a:p>
          </p:txBody>
        </p:sp>
        <p:sp>
          <p:nvSpPr>
            <p:cNvPr id="233" name="Freeform 56"/>
            <p:cNvSpPr>
              <a:spLocks/>
            </p:cNvSpPr>
            <p:nvPr/>
          </p:nvSpPr>
          <p:spPr bwMode="auto">
            <a:xfrm>
              <a:off x="0" y="1720480"/>
              <a:ext cx="1795419" cy="2286356"/>
            </a:xfrm>
            <a:custGeom>
              <a:avLst/>
              <a:gdLst>
                <a:gd name="T0" fmla="*/ 232 w 384"/>
                <a:gd name="T1" fmla="*/ 0 h 489"/>
                <a:gd name="T2" fmla="*/ 0 w 384"/>
                <a:gd name="T3" fmla="*/ 489 h 489"/>
                <a:gd name="T4" fmla="*/ 204 w 384"/>
                <a:gd name="T5" fmla="*/ 60 h 489"/>
                <a:gd name="T6" fmla="*/ 384 w 384"/>
                <a:gd name="T7" fmla="*/ 71 h 489"/>
                <a:gd name="T8" fmla="*/ 364 w 384"/>
                <a:gd name="T9" fmla="*/ 23 h 489"/>
                <a:gd name="T10" fmla="*/ 232 w 384"/>
                <a:gd name="T11" fmla="*/ 0 h 4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4" h="489">
                  <a:moveTo>
                    <a:pt x="232" y="0"/>
                  </a:moveTo>
                  <a:lnTo>
                    <a:pt x="0" y="489"/>
                  </a:lnTo>
                  <a:lnTo>
                    <a:pt x="204" y="60"/>
                  </a:lnTo>
                  <a:lnTo>
                    <a:pt x="384" y="71"/>
                  </a:lnTo>
                  <a:lnTo>
                    <a:pt x="364" y="23"/>
                  </a:lnTo>
                  <a:lnTo>
                    <a:pt x="232" y="0"/>
                  </a:lnTo>
                  <a:close/>
                </a:path>
              </a:pathLst>
            </a:custGeom>
            <a:solidFill>
              <a:srgbClr val="5B1D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</a:endParaRPr>
            </a:p>
          </p:txBody>
        </p:sp>
        <p:sp>
          <p:nvSpPr>
            <p:cNvPr id="234" name="Freeform 57"/>
            <p:cNvSpPr>
              <a:spLocks/>
            </p:cNvSpPr>
            <p:nvPr/>
          </p:nvSpPr>
          <p:spPr bwMode="auto">
            <a:xfrm>
              <a:off x="0" y="1720480"/>
              <a:ext cx="1795419" cy="2286356"/>
            </a:xfrm>
            <a:custGeom>
              <a:avLst/>
              <a:gdLst>
                <a:gd name="T0" fmla="*/ 232 w 384"/>
                <a:gd name="T1" fmla="*/ 0 h 489"/>
                <a:gd name="T2" fmla="*/ 0 w 384"/>
                <a:gd name="T3" fmla="*/ 489 h 489"/>
                <a:gd name="T4" fmla="*/ 204 w 384"/>
                <a:gd name="T5" fmla="*/ 60 h 489"/>
                <a:gd name="T6" fmla="*/ 384 w 384"/>
                <a:gd name="T7" fmla="*/ 71 h 489"/>
                <a:gd name="T8" fmla="*/ 364 w 384"/>
                <a:gd name="T9" fmla="*/ 23 h 489"/>
                <a:gd name="T10" fmla="*/ 232 w 384"/>
                <a:gd name="T11" fmla="*/ 0 h 4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4" h="489">
                  <a:moveTo>
                    <a:pt x="232" y="0"/>
                  </a:moveTo>
                  <a:lnTo>
                    <a:pt x="0" y="489"/>
                  </a:lnTo>
                  <a:lnTo>
                    <a:pt x="204" y="60"/>
                  </a:lnTo>
                  <a:lnTo>
                    <a:pt x="384" y="71"/>
                  </a:lnTo>
                  <a:lnTo>
                    <a:pt x="364" y="23"/>
                  </a:lnTo>
                  <a:lnTo>
                    <a:pt x="23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</a:endParaRPr>
            </a:p>
          </p:txBody>
        </p:sp>
        <p:sp>
          <p:nvSpPr>
            <p:cNvPr id="235" name="Freeform 58"/>
            <p:cNvSpPr>
              <a:spLocks noEditPoints="1"/>
            </p:cNvSpPr>
            <p:nvPr/>
          </p:nvSpPr>
          <p:spPr bwMode="auto">
            <a:xfrm>
              <a:off x="504962" y="1617618"/>
              <a:ext cx="1196946" cy="210402"/>
            </a:xfrm>
            <a:custGeom>
              <a:avLst/>
              <a:gdLst>
                <a:gd name="T0" fmla="*/ 125 w 256"/>
                <a:gd name="T1" fmla="*/ 20 h 45"/>
                <a:gd name="T2" fmla="*/ 124 w 256"/>
                <a:gd name="T3" fmla="*/ 22 h 45"/>
                <a:gd name="T4" fmla="*/ 256 w 256"/>
                <a:gd name="T5" fmla="*/ 45 h 45"/>
                <a:gd name="T6" fmla="*/ 255 w 256"/>
                <a:gd name="T7" fmla="*/ 42 h 45"/>
                <a:gd name="T8" fmla="*/ 125 w 256"/>
                <a:gd name="T9" fmla="*/ 20 h 45"/>
                <a:gd name="T10" fmla="*/ 0 w 256"/>
                <a:gd name="T11" fmla="*/ 0 h 45"/>
                <a:gd name="T12" fmla="*/ 0 w 256"/>
                <a:gd name="T13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6" h="45">
                  <a:moveTo>
                    <a:pt x="125" y="20"/>
                  </a:moveTo>
                  <a:lnTo>
                    <a:pt x="124" y="22"/>
                  </a:lnTo>
                  <a:lnTo>
                    <a:pt x="256" y="45"/>
                  </a:lnTo>
                  <a:lnTo>
                    <a:pt x="255" y="42"/>
                  </a:lnTo>
                  <a:lnTo>
                    <a:pt x="125" y="2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DEDE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</a:endParaRPr>
            </a:p>
          </p:txBody>
        </p:sp>
        <p:sp>
          <p:nvSpPr>
            <p:cNvPr id="236" name="Freeform 59"/>
            <p:cNvSpPr>
              <a:spLocks noEditPoints="1"/>
            </p:cNvSpPr>
            <p:nvPr/>
          </p:nvSpPr>
          <p:spPr bwMode="auto">
            <a:xfrm>
              <a:off x="504962" y="1617618"/>
              <a:ext cx="1196946" cy="210402"/>
            </a:xfrm>
            <a:custGeom>
              <a:avLst/>
              <a:gdLst>
                <a:gd name="T0" fmla="*/ 125 w 256"/>
                <a:gd name="T1" fmla="*/ 20 h 45"/>
                <a:gd name="T2" fmla="*/ 124 w 256"/>
                <a:gd name="T3" fmla="*/ 22 h 45"/>
                <a:gd name="T4" fmla="*/ 256 w 256"/>
                <a:gd name="T5" fmla="*/ 45 h 45"/>
                <a:gd name="T6" fmla="*/ 255 w 256"/>
                <a:gd name="T7" fmla="*/ 42 h 45"/>
                <a:gd name="T8" fmla="*/ 125 w 256"/>
                <a:gd name="T9" fmla="*/ 20 h 45"/>
                <a:gd name="T10" fmla="*/ 0 w 256"/>
                <a:gd name="T11" fmla="*/ 0 h 45"/>
                <a:gd name="T12" fmla="*/ 0 w 256"/>
                <a:gd name="T13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6" h="45">
                  <a:moveTo>
                    <a:pt x="125" y="20"/>
                  </a:moveTo>
                  <a:lnTo>
                    <a:pt x="124" y="22"/>
                  </a:lnTo>
                  <a:lnTo>
                    <a:pt x="256" y="45"/>
                  </a:lnTo>
                  <a:lnTo>
                    <a:pt x="255" y="42"/>
                  </a:lnTo>
                  <a:lnTo>
                    <a:pt x="125" y="20"/>
                  </a:lnTo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</a:endParaRPr>
            </a:p>
          </p:txBody>
        </p:sp>
        <p:sp>
          <p:nvSpPr>
            <p:cNvPr id="237" name="Freeform 60"/>
            <p:cNvSpPr>
              <a:spLocks/>
            </p:cNvSpPr>
            <p:nvPr/>
          </p:nvSpPr>
          <p:spPr bwMode="auto">
            <a:xfrm>
              <a:off x="0" y="1617618"/>
              <a:ext cx="1089410" cy="2389219"/>
            </a:xfrm>
            <a:custGeom>
              <a:avLst/>
              <a:gdLst>
                <a:gd name="T0" fmla="*/ 108 w 233"/>
                <a:gd name="T1" fmla="*/ 0 h 511"/>
                <a:gd name="T2" fmla="*/ 0 w 233"/>
                <a:gd name="T3" fmla="*/ 511 h 511"/>
                <a:gd name="T4" fmla="*/ 232 w 233"/>
                <a:gd name="T5" fmla="*/ 22 h 511"/>
                <a:gd name="T6" fmla="*/ 233 w 233"/>
                <a:gd name="T7" fmla="*/ 20 h 511"/>
                <a:gd name="T8" fmla="*/ 108 w 233"/>
                <a:gd name="T9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3" h="511">
                  <a:moveTo>
                    <a:pt x="108" y="0"/>
                  </a:moveTo>
                  <a:lnTo>
                    <a:pt x="0" y="511"/>
                  </a:lnTo>
                  <a:lnTo>
                    <a:pt x="232" y="22"/>
                  </a:lnTo>
                  <a:lnTo>
                    <a:pt x="233" y="20"/>
                  </a:lnTo>
                  <a:lnTo>
                    <a:pt x="108" y="0"/>
                  </a:lnTo>
                  <a:close/>
                </a:path>
              </a:pathLst>
            </a:custGeom>
            <a:solidFill>
              <a:srgbClr val="DEDE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</a:endParaRPr>
            </a:p>
          </p:txBody>
        </p:sp>
        <p:sp>
          <p:nvSpPr>
            <p:cNvPr id="238" name="Freeform 61"/>
            <p:cNvSpPr>
              <a:spLocks/>
            </p:cNvSpPr>
            <p:nvPr/>
          </p:nvSpPr>
          <p:spPr bwMode="auto">
            <a:xfrm>
              <a:off x="0" y="1617618"/>
              <a:ext cx="1089410" cy="2389219"/>
            </a:xfrm>
            <a:custGeom>
              <a:avLst/>
              <a:gdLst>
                <a:gd name="T0" fmla="*/ 108 w 233"/>
                <a:gd name="T1" fmla="*/ 0 h 511"/>
                <a:gd name="T2" fmla="*/ 0 w 233"/>
                <a:gd name="T3" fmla="*/ 511 h 511"/>
                <a:gd name="T4" fmla="*/ 232 w 233"/>
                <a:gd name="T5" fmla="*/ 22 h 511"/>
                <a:gd name="T6" fmla="*/ 233 w 233"/>
                <a:gd name="T7" fmla="*/ 20 h 511"/>
                <a:gd name="T8" fmla="*/ 108 w 233"/>
                <a:gd name="T9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3" h="511">
                  <a:moveTo>
                    <a:pt x="108" y="0"/>
                  </a:moveTo>
                  <a:lnTo>
                    <a:pt x="0" y="511"/>
                  </a:lnTo>
                  <a:lnTo>
                    <a:pt x="232" y="22"/>
                  </a:lnTo>
                  <a:lnTo>
                    <a:pt x="233" y="20"/>
                  </a:lnTo>
                  <a:lnTo>
                    <a:pt x="10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</a:endParaRPr>
            </a:p>
          </p:txBody>
        </p:sp>
        <p:sp>
          <p:nvSpPr>
            <p:cNvPr id="239" name="Oval 62"/>
            <p:cNvSpPr>
              <a:spLocks noChangeArrowheads="1"/>
            </p:cNvSpPr>
            <p:nvPr/>
          </p:nvSpPr>
          <p:spPr bwMode="auto">
            <a:xfrm>
              <a:off x="589122" y="1781261"/>
              <a:ext cx="140267" cy="140267"/>
            </a:xfrm>
            <a:prstGeom prst="ellipse">
              <a:avLst/>
            </a:prstGeom>
            <a:solidFill>
              <a:srgbClr val="4423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</a:endParaRPr>
            </a:p>
          </p:txBody>
        </p:sp>
        <p:sp>
          <p:nvSpPr>
            <p:cNvPr id="240" name="Freeform 63"/>
            <p:cNvSpPr>
              <a:spLocks/>
            </p:cNvSpPr>
            <p:nvPr/>
          </p:nvSpPr>
          <p:spPr bwMode="auto">
            <a:xfrm>
              <a:off x="3034447" y="514183"/>
              <a:ext cx="635878" cy="3151335"/>
            </a:xfrm>
            <a:custGeom>
              <a:avLst/>
              <a:gdLst>
                <a:gd name="T0" fmla="*/ 276 w 288"/>
                <a:gd name="T1" fmla="*/ 0 h 1431"/>
                <a:gd name="T2" fmla="*/ 151 w 288"/>
                <a:gd name="T3" fmla="*/ 344 h 1431"/>
                <a:gd name="T4" fmla="*/ 0 w 288"/>
                <a:gd name="T5" fmla="*/ 1431 h 1431"/>
                <a:gd name="T6" fmla="*/ 14 w 288"/>
                <a:gd name="T7" fmla="*/ 1396 h 1431"/>
                <a:gd name="T8" fmla="*/ 164 w 288"/>
                <a:gd name="T9" fmla="*/ 349 h 1431"/>
                <a:gd name="T10" fmla="*/ 288 w 288"/>
                <a:gd name="T11" fmla="*/ 7 h 1431"/>
                <a:gd name="T12" fmla="*/ 288 w 288"/>
                <a:gd name="T13" fmla="*/ 6 h 1431"/>
                <a:gd name="T14" fmla="*/ 276 w 288"/>
                <a:gd name="T15" fmla="*/ 0 h 1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8" h="1431">
                  <a:moveTo>
                    <a:pt x="276" y="0"/>
                  </a:moveTo>
                  <a:cubicBezTo>
                    <a:pt x="242" y="76"/>
                    <a:pt x="195" y="195"/>
                    <a:pt x="151" y="344"/>
                  </a:cubicBezTo>
                  <a:cubicBezTo>
                    <a:pt x="82" y="579"/>
                    <a:pt x="2" y="954"/>
                    <a:pt x="0" y="1431"/>
                  </a:cubicBezTo>
                  <a:cubicBezTo>
                    <a:pt x="14" y="1396"/>
                    <a:pt x="14" y="1396"/>
                    <a:pt x="14" y="1396"/>
                  </a:cubicBezTo>
                  <a:cubicBezTo>
                    <a:pt x="19" y="937"/>
                    <a:pt x="97" y="576"/>
                    <a:pt x="164" y="349"/>
                  </a:cubicBezTo>
                  <a:cubicBezTo>
                    <a:pt x="210" y="191"/>
                    <a:pt x="257" y="76"/>
                    <a:pt x="288" y="7"/>
                  </a:cubicBezTo>
                  <a:cubicBezTo>
                    <a:pt x="288" y="6"/>
                    <a:pt x="288" y="6"/>
                    <a:pt x="288" y="6"/>
                  </a:cubicBezTo>
                  <a:lnTo>
                    <a:pt x="276" y="0"/>
                  </a:lnTo>
                  <a:close/>
                </a:path>
              </a:pathLst>
            </a:custGeom>
            <a:solidFill>
              <a:srgbClr val="4423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65" name="Picture 64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70" t="17044" r="6911" b="22103"/>
          <a:stretch/>
        </p:blipFill>
        <p:spPr>
          <a:xfrm>
            <a:off x="541338" y="5917792"/>
            <a:ext cx="3663351" cy="8275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86250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 with Graphics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13410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390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 rot="5400000">
            <a:off x="-1407884" y="1407888"/>
            <a:ext cx="6994525" cy="4178756"/>
          </a:xfrm>
          <a:prstGeom prst="rect">
            <a:avLst/>
          </a:prstGeom>
          <a:solidFill>
            <a:srgbClr val="3399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555132"/>
            <a:endParaRPr lang="en-US" sz="2200" dirty="0">
              <a:solidFill>
                <a:srgbClr val="FD7425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41338" y="3173413"/>
            <a:ext cx="3337561" cy="929177"/>
          </a:xfrm>
        </p:spPr>
        <p:txBody>
          <a:bodyPr lIns="0" tIns="0" rIns="0">
            <a:noAutofit/>
          </a:bodyPr>
          <a:lstStyle>
            <a:lvl1pPr marL="0" indent="0">
              <a:spcBef>
                <a:spcPts val="0"/>
              </a:spcBef>
              <a:spcAft>
                <a:spcPts val="1200"/>
              </a:spcAft>
              <a:buNone/>
              <a:defRPr sz="2200" b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600"/>
              </a:spcBef>
              <a:buNone/>
              <a:defRPr sz="2200">
                <a:solidFill>
                  <a:schemeClr val="bg1"/>
                </a:solidFill>
              </a:defRPr>
            </a:lvl2pPr>
            <a:lvl3pPr marL="1110265" indent="0">
              <a:buNone/>
              <a:defRPr/>
            </a:lvl3pPr>
            <a:lvl4pPr marL="1665397" indent="0">
              <a:buNone/>
              <a:defRPr/>
            </a:lvl4pPr>
            <a:lvl5pPr marL="2220529" indent="0">
              <a:buNone/>
              <a:defRPr/>
            </a:lvl5pPr>
          </a:lstStyle>
          <a:p>
            <a:pPr lvl="0"/>
            <a:r>
              <a:rPr lang="en-US" dirty="0" smtClean="0"/>
              <a:t>Heading</a:t>
            </a:r>
          </a:p>
          <a:p>
            <a:pPr lvl="1"/>
            <a:r>
              <a:rPr lang="en-US" dirty="0" smtClean="0"/>
              <a:t>Text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BE" dirty="0" smtClean="0"/>
              <a:t>27/03/20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255DB77-E0AE-A349-8FAE-C666923B773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1339" y="586337"/>
            <a:ext cx="3337560" cy="1495794"/>
          </a:xfrm>
          <a:noFill/>
        </p:spPr>
        <p:txBody>
          <a:bodyPr vert="horz" wrap="square" lIns="0" tIns="0" rIns="0" bIns="0" rtlCol="0" anchor="t">
            <a:noAutofit/>
          </a:bodyPr>
          <a:lstStyle>
            <a:lvl1pPr>
              <a:defRPr lang="en-US" sz="4000" dirty="0">
                <a:solidFill>
                  <a:schemeClr val="bg1"/>
                </a:solidFill>
                <a:latin typeface="Segoe UI Semibold"/>
                <a:ea typeface="+mn-ea"/>
                <a:cs typeface="Segoe UI Semibold"/>
              </a:defRPr>
            </a:lvl1pPr>
          </a:lstStyle>
          <a:p>
            <a:pPr marL="0" lvl="0"/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70" t="17044" r="6911" b="22103"/>
          <a:stretch/>
        </p:blipFill>
        <p:spPr>
          <a:xfrm>
            <a:off x="9732785" y="6482889"/>
            <a:ext cx="1638599" cy="370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69027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 with Graphics 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8328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414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 rot="5400000">
            <a:off x="-1407884" y="1407888"/>
            <a:ext cx="6994525" cy="4178756"/>
          </a:xfrm>
          <a:prstGeom prst="rect">
            <a:avLst/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555132"/>
            <a:endParaRPr lang="en-US" sz="2200" dirty="0">
              <a:solidFill>
                <a:srgbClr val="FD7425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41338" y="3173413"/>
            <a:ext cx="3337561" cy="929177"/>
          </a:xfrm>
        </p:spPr>
        <p:txBody>
          <a:bodyPr lIns="0" tIns="0" rIns="0">
            <a:noAutofit/>
          </a:bodyPr>
          <a:lstStyle>
            <a:lvl1pPr marL="0" indent="0">
              <a:spcBef>
                <a:spcPts val="0"/>
              </a:spcBef>
              <a:spcAft>
                <a:spcPts val="1200"/>
              </a:spcAft>
              <a:buNone/>
              <a:defRPr sz="2200" b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600"/>
              </a:spcBef>
              <a:buNone/>
              <a:defRPr sz="2200">
                <a:solidFill>
                  <a:schemeClr val="bg1"/>
                </a:solidFill>
              </a:defRPr>
            </a:lvl2pPr>
            <a:lvl3pPr marL="1110265" indent="0">
              <a:buNone/>
              <a:defRPr/>
            </a:lvl3pPr>
            <a:lvl4pPr marL="1665397" indent="0">
              <a:buNone/>
              <a:defRPr/>
            </a:lvl4pPr>
            <a:lvl5pPr marL="2220529" indent="0">
              <a:buNone/>
              <a:defRPr/>
            </a:lvl5pPr>
          </a:lstStyle>
          <a:p>
            <a:pPr lvl="0"/>
            <a:r>
              <a:rPr lang="en-US" dirty="0" smtClean="0"/>
              <a:t>Heading</a:t>
            </a:r>
          </a:p>
          <a:p>
            <a:pPr lvl="1"/>
            <a:r>
              <a:rPr lang="en-US" dirty="0" smtClean="0"/>
              <a:t>Text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41338" y="6482889"/>
            <a:ext cx="3337562" cy="372394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BE" dirty="0" smtClean="0"/>
              <a:t>27/03/20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255DB77-E0AE-A349-8FAE-C666923B773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1339" y="586337"/>
            <a:ext cx="3337560" cy="1495794"/>
          </a:xfrm>
          <a:noFill/>
        </p:spPr>
        <p:txBody>
          <a:bodyPr vert="horz" wrap="square" lIns="0" tIns="0" rIns="0" bIns="0" rtlCol="0" anchor="t">
            <a:noAutofit/>
          </a:bodyPr>
          <a:lstStyle>
            <a:lvl1pPr>
              <a:defRPr lang="en-US" sz="4000" dirty="0">
                <a:latin typeface="Segoe UI Semibold"/>
                <a:ea typeface="+mn-ea"/>
                <a:cs typeface="Segoe UI Semibold"/>
              </a:defRPr>
            </a:lvl1pPr>
          </a:lstStyle>
          <a:p>
            <a:pPr marL="0" lvl="0"/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70" t="17044" r="6911" b="22103"/>
          <a:stretch/>
        </p:blipFill>
        <p:spPr>
          <a:xfrm>
            <a:off x="9732785" y="6482889"/>
            <a:ext cx="1638599" cy="370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14843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 with Graphics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3910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342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 rot="5400000">
            <a:off x="-1407884" y="1407888"/>
            <a:ext cx="6994525" cy="417875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555132"/>
            <a:endParaRPr lang="en-US" sz="2200" dirty="0">
              <a:solidFill>
                <a:srgbClr val="FD7425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41338" y="3173413"/>
            <a:ext cx="3337561" cy="929177"/>
          </a:xfrm>
        </p:spPr>
        <p:txBody>
          <a:bodyPr lIns="0" tIns="0" rIns="0">
            <a:noAutofit/>
          </a:bodyPr>
          <a:lstStyle>
            <a:lvl1pPr marL="0" indent="0">
              <a:spcBef>
                <a:spcPts val="0"/>
              </a:spcBef>
              <a:spcAft>
                <a:spcPts val="1200"/>
              </a:spcAft>
              <a:buNone/>
              <a:defRPr sz="2200" b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600"/>
              </a:spcBef>
              <a:buNone/>
              <a:defRPr sz="2200">
                <a:solidFill>
                  <a:schemeClr val="bg1"/>
                </a:solidFill>
              </a:defRPr>
            </a:lvl2pPr>
            <a:lvl3pPr marL="1110265" indent="0">
              <a:buNone/>
              <a:defRPr/>
            </a:lvl3pPr>
            <a:lvl4pPr marL="1665397" indent="0">
              <a:buNone/>
              <a:defRPr/>
            </a:lvl4pPr>
            <a:lvl5pPr marL="2220529" indent="0">
              <a:buNone/>
              <a:defRPr/>
            </a:lvl5pPr>
          </a:lstStyle>
          <a:p>
            <a:pPr lvl="0"/>
            <a:r>
              <a:rPr lang="en-US" dirty="0" smtClean="0"/>
              <a:t>Heading</a:t>
            </a:r>
          </a:p>
          <a:p>
            <a:pPr lvl="1"/>
            <a:r>
              <a:rPr lang="en-US" dirty="0" smtClean="0"/>
              <a:t>Text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BE" dirty="0" smtClean="0"/>
              <a:t>27/03/20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255DB77-E0AE-A349-8FAE-C666923B773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1339" y="586337"/>
            <a:ext cx="3337560" cy="1495794"/>
          </a:xfrm>
          <a:noFill/>
        </p:spPr>
        <p:txBody>
          <a:bodyPr wrap="square" lIns="0" tIns="0" rIns="0" bIns="0" rtlCol="0" anchor="t">
            <a:noAutofit/>
          </a:bodyPr>
          <a:lstStyle>
            <a:lvl1pPr>
              <a:defRPr lang="en-US" sz="4000" spc="-160" baseline="0" dirty="0">
                <a:solidFill>
                  <a:schemeClr val="bg1"/>
                </a:solidFill>
                <a:latin typeface="Segoe UI Semibold"/>
                <a:ea typeface="+mn-ea"/>
                <a:cs typeface="Segoe UI Semibold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70" t="17044" r="6911" b="22103"/>
          <a:stretch/>
        </p:blipFill>
        <p:spPr>
          <a:xfrm>
            <a:off x="9732785" y="6482889"/>
            <a:ext cx="1638599" cy="370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98255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 with Graphics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54914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318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 rot="5400000">
            <a:off x="-1407884" y="1407888"/>
            <a:ext cx="6994525" cy="4178756"/>
          </a:xfrm>
          <a:prstGeom prst="rect">
            <a:avLst/>
          </a:prstGeom>
          <a:solidFill>
            <a:srgbClr val="92D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555132"/>
            <a:endParaRPr lang="en-US" sz="2200" dirty="0">
              <a:solidFill>
                <a:srgbClr val="FD7425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41338" y="3173413"/>
            <a:ext cx="3337561" cy="929177"/>
          </a:xfrm>
        </p:spPr>
        <p:txBody>
          <a:bodyPr lIns="0" tIns="0" rIns="0">
            <a:noAutofit/>
          </a:bodyPr>
          <a:lstStyle>
            <a:lvl1pPr marL="0" indent="0">
              <a:spcBef>
                <a:spcPts val="0"/>
              </a:spcBef>
              <a:spcAft>
                <a:spcPts val="1200"/>
              </a:spcAft>
              <a:buNone/>
              <a:defRPr sz="2200" b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600"/>
              </a:spcBef>
              <a:buNone/>
              <a:defRPr sz="2200">
                <a:solidFill>
                  <a:schemeClr val="bg1"/>
                </a:solidFill>
              </a:defRPr>
            </a:lvl2pPr>
            <a:lvl3pPr marL="1110265" indent="0">
              <a:buNone/>
              <a:defRPr/>
            </a:lvl3pPr>
            <a:lvl4pPr marL="1665397" indent="0">
              <a:buNone/>
              <a:defRPr/>
            </a:lvl4pPr>
            <a:lvl5pPr marL="2220529" indent="0">
              <a:buNone/>
              <a:defRPr/>
            </a:lvl5pPr>
          </a:lstStyle>
          <a:p>
            <a:pPr lvl="0"/>
            <a:r>
              <a:rPr lang="en-US" dirty="0" smtClean="0"/>
              <a:t>Heading</a:t>
            </a:r>
          </a:p>
          <a:p>
            <a:pPr lvl="1"/>
            <a:r>
              <a:rPr lang="en-US" dirty="0" smtClean="0"/>
              <a:t>Text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BE" dirty="0" smtClean="0"/>
              <a:t>27/03/20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255DB77-E0AE-A349-8FAE-C666923B773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1339" y="586337"/>
            <a:ext cx="3337560" cy="1495794"/>
          </a:xfrm>
          <a:noFill/>
        </p:spPr>
        <p:txBody>
          <a:bodyPr wrap="square" lIns="0" tIns="0" rIns="0" bIns="0" rtlCol="0" anchor="t">
            <a:noAutofit/>
          </a:bodyPr>
          <a:lstStyle>
            <a:lvl1pPr>
              <a:defRPr lang="en-US" sz="4000" spc="-160" baseline="0" dirty="0">
                <a:solidFill>
                  <a:schemeClr val="bg1"/>
                </a:solidFill>
                <a:latin typeface="Segoe UI Semibold"/>
                <a:ea typeface="+mn-ea"/>
                <a:cs typeface="Segoe UI Semibold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70" t="17044" r="6911" b="22103"/>
          <a:stretch/>
        </p:blipFill>
        <p:spPr>
          <a:xfrm>
            <a:off x="9732785" y="6482889"/>
            <a:ext cx="1638599" cy="370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12410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 with Graphics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08317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94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 rot="5400000">
            <a:off x="-1407884" y="1407888"/>
            <a:ext cx="6994525" cy="4178756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555132"/>
            <a:endParaRPr lang="en-US" sz="2200" dirty="0">
              <a:solidFill>
                <a:srgbClr val="FD7425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41338" y="3173413"/>
            <a:ext cx="3337561" cy="929177"/>
          </a:xfrm>
        </p:spPr>
        <p:txBody>
          <a:bodyPr lIns="0" tIns="0" rIns="0">
            <a:noAutofit/>
          </a:bodyPr>
          <a:lstStyle>
            <a:lvl1pPr marL="0" indent="0">
              <a:spcBef>
                <a:spcPts val="0"/>
              </a:spcBef>
              <a:spcAft>
                <a:spcPts val="1200"/>
              </a:spcAft>
              <a:buNone/>
              <a:defRPr sz="2200" b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600"/>
              </a:spcBef>
              <a:buNone/>
              <a:defRPr sz="2200">
                <a:solidFill>
                  <a:schemeClr val="bg1"/>
                </a:solidFill>
              </a:defRPr>
            </a:lvl2pPr>
            <a:lvl3pPr marL="1110265" indent="0">
              <a:buNone/>
              <a:defRPr/>
            </a:lvl3pPr>
            <a:lvl4pPr marL="1665397" indent="0">
              <a:buNone/>
              <a:defRPr/>
            </a:lvl4pPr>
            <a:lvl5pPr marL="2220529" indent="0">
              <a:buNone/>
              <a:defRPr/>
            </a:lvl5pPr>
          </a:lstStyle>
          <a:p>
            <a:pPr lvl="0"/>
            <a:r>
              <a:rPr lang="en-US" dirty="0" smtClean="0"/>
              <a:t>Heading</a:t>
            </a:r>
          </a:p>
          <a:p>
            <a:pPr lvl="1"/>
            <a:r>
              <a:rPr lang="en-US" dirty="0" smtClean="0"/>
              <a:t>Text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BE" dirty="0" smtClean="0"/>
              <a:t>27/03/20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255DB77-E0AE-A349-8FAE-C666923B773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1339" y="586337"/>
            <a:ext cx="3337560" cy="1495794"/>
          </a:xfrm>
          <a:noFill/>
        </p:spPr>
        <p:txBody>
          <a:bodyPr vert="horz" wrap="square" lIns="0" tIns="0" rIns="0" bIns="0" rtlCol="0" anchor="t">
            <a:noAutofit/>
          </a:bodyPr>
          <a:lstStyle>
            <a:lvl1pPr>
              <a:defRPr lang="en-US" sz="4000" dirty="0">
                <a:solidFill>
                  <a:schemeClr val="bg1"/>
                </a:solidFill>
                <a:latin typeface="Segoe UI Semibold"/>
                <a:ea typeface="+mn-ea"/>
                <a:cs typeface="Segoe UI Semibold"/>
              </a:defRPr>
            </a:lvl1pPr>
          </a:lstStyle>
          <a:p>
            <a:pPr marL="0" lvl="0"/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70" t="17044" r="6911" b="22103"/>
          <a:stretch/>
        </p:blipFill>
        <p:spPr>
          <a:xfrm>
            <a:off x="9732785" y="6482889"/>
            <a:ext cx="1638599" cy="370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20157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_2">
    <p:bg>
      <p:bgPr>
        <a:solidFill>
          <a:srgbClr val="0070C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3012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82396" y="2802667"/>
            <a:ext cx="10571004" cy="1389190"/>
          </a:xfrm>
        </p:spPr>
        <p:txBody>
          <a:bodyPr anchor="ctr">
            <a:noAutofit/>
          </a:bodyPr>
          <a:lstStyle>
            <a:lvl1pPr algn="l">
              <a:defRPr sz="5400" b="0" cap="none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15570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_1">
    <p:bg>
      <p:bgPr>
        <a:solidFill>
          <a:srgbClr val="3399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44941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438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82396" y="2802667"/>
            <a:ext cx="10571004" cy="1389190"/>
          </a:xfrm>
        </p:spPr>
        <p:txBody>
          <a:bodyPr anchor="ctr">
            <a:noAutofit/>
          </a:bodyPr>
          <a:lstStyle>
            <a:lvl1pPr algn="l">
              <a:defRPr sz="5400" b="0" cap="none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42714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_2">
    <p:bg>
      <p:bgPr>
        <a:solidFill>
          <a:srgbClr val="00B0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55108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462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82396" y="2802667"/>
            <a:ext cx="10571004" cy="1389190"/>
          </a:xfrm>
        </p:spPr>
        <p:txBody>
          <a:bodyPr anchor="ctr">
            <a:noAutofit/>
          </a:bodyPr>
          <a:lstStyle>
            <a:lvl1pPr algn="l">
              <a:defRPr sz="5400" b="0" cap="none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18025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 Solid">
    <p:bg>
      <p:bgPr>
        <a:solidFill>
          <a:srgbClr val="0070C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74639" y="2142637"/>
            <a:ext cx="11228387" cy="897427"/>
          </a:xfrm>
        </p:spPr>
        <p:txBody>
          <a:bodyPr/>
          <a:lstStyle>
            <a:lvl1pPr>
              <a:defRPr sz="600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74705" y="3853692"/>
            <a:ext cx="8705849" cy="832515"/>
          </a:xfrm>
        </p:spPr>
        <p:txBody>
          <a:bodyPr/>
          <a:lstStyle>
            <a:lvl1pPr marL="0" indent="0" algn="l">
              <a:lnSpc>
                <a:spcPts val="2698"/>
              </a:lnSpc>
              <a:buNone/>
              <a:defRPr sz="219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+mj-lt"/>
              </a:defRPr>
            </a:lvl1pPr>
            <a:lvl2pPr marL="457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5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8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91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6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9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82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Speaker Name</a:t>
            </a:r>
            <a:br>
              <a:rPr lang="en-US" smtClean="0"/>
            </a:br>
            <a:r>
              <a:rPr lang="en-US" smtClean="0"/>
              <a:t>Dat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42" y="3111694"/>
            <a:ext cx="11272835" cy="545911"/>
          </a:xfrm>
        </p:spPr>
        <p:txBody>
          <a:bodyPr anchor="ctr"/>
          <a:lstStyle>
            <a:lvl1pPr marL="0" indent="0">
              <a:lnSpc>
                <a:spcPts val="4203"/>
              </a:lnSpc>
              <a:spcBef>
                <a:spcPts val="0"/>
              </a:spcBef>
              <a:buNone/>
              <a:defRPr sz="2652" b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+mj-lt"/>
              </a:defRPr>
            </a:lvl1pPr>
            <a:lvl2pPr marL="0" indent="0">
              <a:buNone/>
              <a:defRPr sz="3499" b="0">
                <a:solidFill>
                  <a:schemeClr val="bg1"/>
                </a:solidFill>
                <a:latin typeface="+mj-lt"/>
              </a:defRPr>
            </a:lvl2pPr>
            <a:lvl3pPr marL="0" indent="0">
              <a:buNone/>
              <a:defRPr sz="3499" b="0">
                <a:solidFill>
                  <a:schemeClr val="bg1"/>
                </a:solidFill>
                <a:latin typeface="+mj-lt"/>
              </a:defRPr>
            </a:lvl3pPr>
            <a:lvl4pPr marL="0" indent="0">
              <a:buNone/>
              <a:defRPr sz="3499" b="0">
                <a:solidFill>
                  <a:schemeClr val="bg1"/>
                </a:solidFill>
                <a:latin typeface="+mj-lt"/>
              </a:defRPr>
            </a:lvl4pPr>
            <a:lvl5pPr marL="0" indent="0">
              <a:buNone/>
              <a:defRPr sz="3499" b="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63073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0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104724631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lumn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49"/>
            <a:ext cx="5486399" cy="2733056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600">
                <a:solidFill>
                  <a:schemeClr val="bg1"/>
                </a:solidFill>
              </a:defRPr>
            </a:lvl1pPr>
            <a:lvl2pPr marL="0" indent="0">
              <a:buNone/>
              <a:defRPr sz="2000"/>
            </a:lvl2pPr>
            <a:lvl3pPr marL="231775" indent="0">
              <a:buNone/>
              <a:tabLst/>
              <a:defRPr sz="2000"/>
            </a:lvl3pPr>
            <a:lvl4pPr marL="460375" indent="0">
              <a:buNone/>
              <a:defRPr/>
            </a:lvl4pPr>
            <a:lvl5pPr marL="685800" indent="0">
              <a:buNone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2733056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600">
                <a:solidFill>
                  <a:schemeClr val="bg1"/>
                </a:solidFill>
              </a:defRPr>
            </a:lvl1pPr>
            <a:lvl2pPr marL="0" indent="0">
              <a:buNone/>
              <a:defRPr sz="2000"/>
            </a:lvl2pPr>
            <a:lvl3pPr marL="231775" indent="0">
              <a:buNone/>
              <a:tabLst/>
              <a:defRPr sz="2000"/>
            </a:lvl3pPr>
            <a:lvl4pPr marL="460375" indent="0">
              <a:buNone/>
              <a:defRPr/>
            </a:lvl4pPr>
            <a:lvl5pPr marL="685800" indent="0">
              <a:buNone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597356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_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61404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26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41338" y="981076"/>
            <a:ext cx="11353800" cy="945260"/>
          </a:xfrm>
        </p:spPr>
        <p:txBody>
          <a:bodyPr anchor="b">
            <a:noAutofit/>
          </a:bodyPr>
          <a:lstStyle>
            <a:lvl1pPr algn="l">
              <a:defRPr sz="5400">
                <a:solidFill>
                  <a:srgbClr val="0070C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41337" y="3885777"/>
            <a:ext cx="11353799" cy="1787490"/>
          </a:xfrm>
        </p:spPr>
        <p:txBody>
          <a:bodyPr>
            <a:noAutofit/>
          </a:bodyPr>
          <a:lstStyle>
            <a:lvl1pPr marL="0" indent="0" algn="l">
              <a:spcBef>
                <a:spcPts val="1200"/>
              </a:spcBef>
              <a:buNone/>
              <a:defRPr sz="2800">
                <a:solidFill>
                  <a:srgbClr val="0070C0"/>
                </a:solidFill>
              </a:defRPr>
            </a:lvl1pPr>
            <a:lvl2pPr marL="555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1102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653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2205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756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3307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85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4410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peaker name</a:t>
            </a:r>
          </a:p>
          <a:p>
            <a:r>
              <a:rPr lang="en-US" dirty="0" smtClean="0"/>
              <a:t>Speaker org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70" t="17044" r="6911" b="22103"/>
          <a:stretch/>
        </p:blipFill>
        <p:spPr>
          <a:xfrm>
            <a:off x="541337" y="5924566"/>
            <a:ext cx="3663351" cy="8275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08960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_2">
    <p:bg>
      <p:bgPr>
        <a:solidFill>
          <a:srgbClr val="0070C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50823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50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41338" y="981076"/>
            <a:ext cx="11353800" cy="1030604"/>
          </a:xfrm>
        </p:spPr>
        <p:txBody>
          <a:bodyPr anchor="b">
            <a:noAutofit/>
          </a:bodyPr>
          <a:lstStyle>
            <a:lvl1pPr algn="l"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41337" y="3885777"/>
            <a:ext cx="11353799" cy="1787490"/>
          </a:xfrm>
        </p:spPr>
        <p:txBody>
          <a:bodyPr>
            <a:noAutofit/>
          </a:bodyPr>
          <a:lstStyle>
            <a:lvl1pPr marL="0" indent="0" algn="l">
              <a:spcBef>
                <a:spcPts val="1200"/>
              </a:spcBef>
              <a:buNone/>
              <a:defRPr sz="2800">
                <a:solidFill>
                  <a:schemeClr val="bg1"/>
                </a:solidFill>
              </a:defRPr>
            </a:lvl1pPr>
            <a:lvl2pPr marL="555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1102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653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2205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756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3307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85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4410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peaker name</a:t>
            </a:r>
          </a:p>
          <a:p>
            <a:r>
              <a:rPr lang="en-US" dirty="0" smtClean="0"/>
              <a:t>Speaker org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70" t="17044" r="6911" b="22103"/>
          <a:stretch/>
        </p:blipFill>
        <p:spPr>
          <a:xfrm>
            <a:off x="541337" y="5924566"/>
            <a:ext cx="3663351" cy="8275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46974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27694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176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41338" y="1590805"/>
            <a:ext cx="11353800" cy="3730495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sz="2400" b="0">
                <a:solidFill>
                  <a:srgbClr val="0070C0"/>
                </a:solidFill>
                <a:latin typeface="Segoe UI Semibold" panose="020B0702040204020203" pitchFamily="34" charset="0"/>
              </a:defRPr>
            </a:lvl1pPr>
            <a:lvl2pPr marL="342900" marR="0" indent="-228600" algn="l" defTabSz="555132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>
                <a:solidFill>
                  <a:srgbClr val="0070C0"/>
                </a:solidFill>
              </a:defRPr>
            </a:lvl2pPr>
            <a:lvl3pPr marL="1110265" indent="0">
              <a:buNone/>
              <a:defRPr>
                <a:solidFill>
                  <a:schemeClr val="accent4"/>
                </a:solidFill>
              </a:defRPr>
            </a:lvl3pPr>
            <a:lvl4pPr marL="1665397" indent="0">
              <a:buNone/>
              <a:defRPr>
                <a:solidFill>
                  <a:schemeClr val="accent4"/>
                </a:solidFill>
              </a:defRPr>
            </a:lvl4pPr>
            <a:lvl5pPr marL="2220529" indent="0">
              <a:buNone/>
              <a:defRPr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 dirty="0" smtClean="0"/>
              <a:t>Header</a:t>
            </a:r>
          </a:p>
          <a:p>
            <a:pPr lvl="1"/>
            <a:r>
              <a:rPr lang="en-US" dirty="0" smtClean="0"/>
              <a:t>Place holder for text</a:t>
            </a:r>
          </a:p>
          <a:p>
            <a:pPr marL="342900" marR="0" lvl="1" indent="-228600" algn="l" defTabSz="555132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 smtClean="0"/>
              <a:t>Place holder for text</a:t>
            </a:r>
          </a:p>
          <a:p>
            <a:pPr marL="342900" marR="0" lvl="1" indent="-228600" algn="l" defTabSz="555132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 smtClean="0"/>
              <a:t>Place holder for text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nl-BE" dirty="0" smtClean="0"/>
              <a:t>27/03/20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255DB77-E0AE-A349-8FAE-C666923B773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540860" y="476880"/>
            <a:ext cx="11354277" cy="747029"/>
          </a:xfrm>
        </p:spPr>
        <p:txBody>
          <a:bodyPr anchor="t"/>
          <a:lstStyle>
            <a:lvl1pPr>
              <a:defRPr>
                <a:solidFill>
                  <a:srgbClr val="0070C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70" t="17044" r="6911" b="22103"/>
          <a:stretch/>
        </p:blipFill>
        <p:spPr>
          <a:xfrm>
            <a:off x="9732785" y="6482889"/>
            <a:ext cx="1638599" cy="370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77221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141328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200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255DB77-E0AE-A349-8FAE-C666923B773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540860" y="478360"/>
            <a:ext cx="11354277" cy="747029"/>
          </a:xfrm>
        </p:spPr>
        <p:txBody>
          <a:bodyPr anchor="t"/>
          <a:lstStyle>
            <a:lvl1pPr>
              <a:defRPr>
                <a:solidFill>
                  <a:srgbClr val="0070C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41337" y="6482889"/>
            <a:ext cx="3337560" cy="37239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nl-BE" dirty="0" smtClean="0"/>
              <a:t>27/03/2015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70" t="17044" r="6911" b="22103"/>
          <a:stretch/>
        </p:blipFill>
        <p:spPr>
          <a:xfrm>
            <a:off x="9732785" y="6482889"/>
            <a:ext cx="1638599" cy="370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89442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_orange">
    <p:bg>
      <p:bgPr>
        <a:solidFill>
          <a:srgbClr val="0070C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6109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222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41338" y="1590805"/>
            <a:ext cx="11353800" cy="3310128"/>
          </a:xfrm>
          <a:noFill/>
        </p:spPr>
        <p:txBody>
          <a:bodyPr/>
          <a:lstStyle>
            <a:lvl1pPr marL="0" indent="0">
              <a:spcBef>
                <a:spcPts val="600"/>
              </a:spcBef>
              <a:buFont typeface="Arial" panose="020B0604020202020204" pitchFamily="34" charset="0"/>
              <a:buNone/>
              <a:defRPr sz="2200">
                <a:solidFill>
                  <a:schemeClr val="bg1"/>
                </a:solidFill>
                <a:latin typeface="Segoe UI Semibold" panose="020B0702040204020203" pitchFamily="34" charset="0"/>
              </a:defRPr>
            </a:lvl1pPr>
            <a:lvl2pPr marL="342900" marR="0" indent="-228600" algn="l" defTabSz="555132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>
                <a:solidFill>
                  <a:schemeClr val="bg1"/>
                </a:solidFill>
              </a:defRPr>
            </a:lvl2pPr>
            <a:lvl3pPr marL="1110265" indent="0">
              <a:buNone/>
              <a:defRPr>
                <a:solidFill>
                  <a:schemeClr val="bg1"/>
                </a:solidFill>
              </a:defRPr>
            </a:lvl3pPr>
            <a:lvl4pPr marL="1665397" indent="0">
              <a:buNone/>
              <a:defRPr>
                <a:solidFill>
                  <a:schemeClr val="bg1"/>
                </a:solidFill>
              </a:defRPr>
            </a:lvl4pPr>
            <a:lvl5pPr marL="2220529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Header</a:t>
            </a:r>
          </a:p>
          <a:p>
            <a:pPr lvl="1"/>
            <a:r>
              <a:rPr lang="en-US" dirty="0" smtClean="0"/>
              <a:t>Place holder for text</a:t>
            </a:r>
          </a:p>
          <a:p>
            <a:pPr marL="347663" marR="0" lvl="1" indent="-233363" algn="l" defTabSz="555132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 smtClean="0"/>
              <a:t>Place holder for text</a:t>
            </a:r>
          </a:p>
          <a:p>
            <a:pPr marL="347663" marR="0" lvl="1" indent="-233363" algn="l" defTabSz="555132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 smtClean="0"/>
              <a:t>Place holder for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BE" dirty="0" smtClean="0"/>
              <a:t>27/03/2015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55DB77-E0AE-A349-8FAE-C666923B773F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70" t="17044" r="6911" b="22103"/>
          <a:stretch/>
        </p:blipFill>
        <p:spPr>
          <a:xfrm>
            <a:off x="9732785" y="6482889"/>
            <a:ext cx="1638599" cy="370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58893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_orange">
    <p:bg>
      <p:bgPr>
        <a:solidFill>
          <a:srgbClr val="0070C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53202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246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BE" dirty="0" smtClean="0"/>
              <a:t>27/03/2015</a:t>
            </a:r>
            <a:endParaRPr lang="en-US" dirty="0" smtClean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55DB77-E0AE-A349-8FAE-C666923B773F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70" t="17044" r="6911" b="22103"/>
          <a:stretch/>
        </p:blipFill>
        <p:spPr>
          <a:xfrm>
            <a:off x="9732785" y="6482889"/>
            <a:ext cx="1638599" cy="370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32763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_orange">
    <p:bg>
      <p:bgPr>
        <a:solidFill>
          <a:srgbClr val="0070C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93114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70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BE" dirty="0" smtClean="0"/>
              <a:t>27/03/2015</a:t>
            </a: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55DB77-E0AE-A349-8FAE-C666923B773F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70" t="17044" r="6911" b="22103"/>
          <a:stretch/>
        </p:blipFill>
        <p:spPr>
          <a:xfrm>
            <a:off x="9732785" y="6482889"/>
            <a:ext cx="1638599" cy="370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08935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 with Graphics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42371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366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 rot="5400000">
            <a:off x="-1407884" y="1407888"/>
            <a:ext cx="6994525" cy="4178756"/>
          </a:xfrm>
          <a:prstGeom prst="rect">
            <a:avLst/>
          </a:prstGeom>
          <a:solidFill>
            <a:srgbClr val="0070C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555132"/>
            <a:endParaRPr lang="en-US" sz="2200" dirty="0">
              <a:solidFill>
                <a:srgbClr val="FD7425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41338" y="3173413"/>
            <a:ext cx="3337561" cy="929177"/>
          </a:xfrm>
        </p:spPr>
        <p:txBody>
          <a:bodyPr lIns="0" tIns="0" rIns="0">
            <a:noAutofit/>
          </a:bodyPr>
          <a:lstStyle>
            <a:lvl1pPr marL="0" indent="0">
              <a:spcBef>
                <a:spcPts val="0"/>
              </a:spcBef>
              <a:spcAft>
                <a:spcPts val="1200"/>
              </a:spcAft>
              <a:buNone/>
              <a:defRPr sz="2200" b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600"/>
              </a:spcBef>
              <a:buNone/>
              <a:defRPr sz="2200">
                <a:solidFill>
                  <a:schemeClr val="bg1"/>
                </a:solidFill>
              </a:defRPr>
            </a:lvl2pPr>
            <a:lvl3pPr marL="1110265" indent="0">
              <a:buNone/>
              <a:defRPr/>
            </a:lvl3pPr>
            <a:lvl4pPr marL="1665397" indent="0">
              <a:buNone/>
              <a:defRPr/>
            </a:lvl4pPr>
            <a:lvl5pPr marL="2220529" indent="0">
              <a:buNone/>
              <a:defRPr/>
            </a:lvl5pPr>
          </a:lstStyle>
          <a:p>
            <a:pPr lvl="0"/>
            <a:r>
              <a:rPr lang="en-US" dirty="0" smtClean="0"/>
              <a:t>Heading</a:t>
            </a:r>
          </a:p>
          <a:p>
            <a:pPr lvl="1"/>
            <a:r>
              <a:rPr lang="en-US" dirty="0" smtClean="0"/>
              <a:t>Text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BE" dirty="0" smtClean="0"/>
              <a:t>27/03/20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255DB77-E0AE-A349-8FAE-C666923B773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1339" y="586337"/>
            <a:ext cx="3337560" cy="1495794"/>
          </a:xfrm>
          <a:noFill/>
        </p:spPr>
        <p:txBody>
          <a:bodyPr vert="horz" wrap="square" lIns="0" tIns="0" rIns="0" bIns="0" rtlCol="0" anchor="t">
            <a:noAutofit/>
          </a:bodyPr>
          <a:lstStyle>
            <a:lvl1pPr>
              <a:defRPr lang="en-US" sz="4000" dirty="0">
                <a:solidFill>
                  <a:schemeClr val="bg1"/>
                </a:solidFill>
                <a:latin typeface="Segoe UI Semibold"/>
                <a:ea typeface="+mn-ea"/>
                <a:cs typeface="Segoe UI Semibold"/>
              </a:defRPr>
            </a:lvl1pPr>
          </a:lstStyle>
          <a:p>
            <a:pPr marL="0" lvl="0"/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70" t="17044" r="6911" b="22103"/>
          <a:stretch/>
        </p:blipFill>
        <p:spPr>
          <a:xfrm>
            <a:off x="9732785" y="6482889"/>
            <a:ext cx="1638599" cy="370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04257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0C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27361694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" name="think-cell Slide" r:id="rId23" imgW="377" imgH="377" progId="TCLayout.ActiveDocument.1">
                  <p:embed/>
                </p:oleObj>
              </mc:Choice>
              <mc:Fallback>
                <p:oleObj name="think-cell Slide" r:id="rId23" imgW="377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0860" y="280105"/>
            <a:ext cx="11354277" cy="74702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1337" y="1632056"/>
            <a:ext cx="11353799" cy="46160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41337" y="6482889"/>
            <a:ext cx="3337560" cy="37239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400">
                <a:solidFill>
                  <a:schemeClr val="bg1"/>
                </a:solidFill>
              </a:defRPr>
            </a:lvl1pPr>
          </a:lstStyle>
          <a:p>
            <a:r>
              <a:rPr lang="nl-BE" dirty="0" smtClean="0"/>
              <a:t>27/03/2015</a:t>
            </a:r>
            <a:endParaRPr lang="en-US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71384" y="6482889"/>
            <a:ext cx="523751" cy="37015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1400">
                <a:solidFill>
                  <a:schemeClr val="bg1"/>
                </a:solidFill>
              </a:defRPr>
            </a:lvl1pPr>
          </a:lstStyle>
          <a:p>
            <a:fld id="{1255DB77-E0AE-A349-8FAE-C666923B773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95777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6" r:id="rId1"/>
    <p:sldLayoutId id="2147483772" r:id="rId2"/>
    <p:sldLayoutId id="2147483773" r:id="rId3"/>
    <p:sldLayoutId id="2147483650" r:id="rId4"/>
    <p:sldLayoutId id="2147483771" r:id="rId5"/>
    <p:sldLayoutId id="2147483775" r:id="rId6"/>
    <p:sldLayoutId id="2147483654" r:id="rId7"/>
    <p:sldLayoutId id="2147483655" r:id="rId8"/>
    <p:sldLayoutId id="2147483768" r:id="rId9"/>
    <p:sldLayoutId id="2147483769" r:id="rId10"/>
    <p:sldLayoutId id="2147483770" r:id="rId11"/>
    <p:sldLayoutId id="2147483767" r:id="rId12"/>
    <p:sldLayoutId id="2147483726" r:id="rId13"/>
    <p:sldLayoutId id="2147483766" r:id="rId14"/>
    <p:sldLayoutId id="2147483802" r:id="rId15"/>
    <p:sldLayoutId id="2147483651" r:id="rId16"/>
    <p:sldLayoutId id="2147483774" r:id="rId17"/>
    <p:sldLayoutId id="2147483779" r:id="rId18"/>
    <p:sldLayoutId id="2147483801" r:id="rId19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555132" rtl="0" eaLnBrk="1" latinLnBrk="0" hangingPunct="1">
        <a:lnSpc>
          <a:spcPct val="90000"/>
        </a:lnSpc>
        <a:spcBef>
          <a:spcPct val="0"/>
        </a:spcBef>
        <a:buNone/>
        <a:defRPr sz="4800" kern="1200" spc="-160" baseline="0">
          <a:solidFill>
            <a:schemeClr val="bg1"/>
          </a:solidFill>
          <a:latin typeface="Segoe UI Semibold" panose="020B0702040204020203" pitchFamily="34" charset="0"/>
          <a:ea typeface="+mj-ea"/>
          <a:cs typeface="Segoe UI Semibold" panose="020B0702040204020203" pitchFamily="34" charset="0"/>
        </a:defRPr>
      </a:lvl1pPr>
    </p:titleStyle>
    <p:bodyStyle>
      <a:lvl1pPr marL="416349" indent="-416349" algn="l" defTabSz="555132" rtl="0" eaLnBrk="1" latinLnBrk="0" hangingPunct="1">
        <a:spcBef>
          <a:spcPct val="20000"/>
        </a:spcBef>
        <a:buFont typeface="Arial"/>
        <a:buChar char="•"/>
        <a:defRPr sz="3600" kern="1200">
          <a:solidFill>
            <a:schemeClr val="bg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902090" indent="-346958" algn="l" defTabSz="555132" rtl="0" eaLnBrk="1" latinLnBrk="0" hangingPunct="1">
        <a:spcBef>
          <a:spcPct val="20000"/>
        </a:spcBef>
        <a:buFont typeface="Arial"/>
        <a:buChar char="–"/>
        <a:defRPr sz="3400" kern="1200">
          <a:solidFill>
            <a:schemeClr val="bg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1387831" indent="-277566" algn="l" defTabSz="555132" rtl="0" eaLnBrk="1" latinLnBrk="0" hangingPunct="1">
        <a:spcBef>
          <a:spcPct val="20000"/>
        </a:spcBef>
        <a:buFont typeface="Arial"/>
        <a:buChar char="•"/>
        <a:defRPr sz="2900" kern="1200">
          <a:solidFill>
            <a:schemeClr val="bg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1942963" indent="-277566" algn="l" defTabSz="555132" rtl="0" eaLnBrk="1" latinLnBrk="0" hangingPunct="1">
        <a:spcBef>
          <a:spcPct val="20000"/>
        </a:spcBef>
        <a:buFont typeface="Arial"/>
        <a:buChar char="–"/>
        <a:defRPr sz="2400" kern="1200">
          <a:solidFill>
            <a:schemeClr val="bg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2498095" indent="-277566" algn="l" defTabSz="555132" rtl="0" eaLnBrk="1" latinLnBrk="0" hangingPunct="1">
        <a:spcBef>
          <a:spcPct val="20000"/>
        </a:spcBef>
        <a:buFont typeface="Arial"/>
        <a:buChar char="»"/>
        <a:defRPr sz="2400" kern="1200">
          <a:solidFill>
            <a:schemeClr val="bg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3053227" indent="-277566" algn="l" defTabSz="555132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08360" indent="-277566" algn="l" defTabSz="555132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3492" indent="-277566" algn="l" defTabSz="555132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18624" indent="-277566" algn="l" defTabSz="555132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55132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55132" algn="l" defTabSz="555132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110264" algn="l" defTabSz="555132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65397" algn="l" defTabSz="555132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220529" algn="l" defTabSz="555132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75661" algn="l" defTabSz="555132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330793" algn="l" defTabSz="555132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85926" algn="l" defTabSz="555132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441058" algn="l" defTabSz="555132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13" Type="http://schemas.openxmlformats.org/officeDocument/2006/relationships/image" Target="../media/image10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12" Type="http://schemas.openxmlformats.org/officeDocument/2006/relationships/image" Target="../media/image9.png"/><Relationship Id="rId2" Type="http://schemas.openxmlformats.org/officeDocument/2006/relationships/tags" Target="../tags/tag2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11" Type="http://schemas.openxmlformats.org/officeDocument/2006/relationships/image" Target="../media/image8.png"/><Relationship Id="rId5" Type="http://schemas.openxmlformats.org/officeDocument/2006/relationships/oleObject" Target="../embeddings/oleObject20.bin"/><Relationship Id="rId10" Type="http://schemas.openxmlformats.org/officeDocument/2006/relationships/image" Target="../media/image7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0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0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36.jpeg"/><Relationship Id="rId4" Type="http://schemas.openxmlformats.org/officeDocument/2006/relationships/image" Target="../media/image35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0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0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38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40.jpe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0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jpeg"/><Relationship Id="rId1" Type="http://schemas.openxmlformats.org/officeDocument/2006/relationships/slideLayout" Target="../slideLayouts/slideLayout10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46.png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0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0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0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0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5.jpeg"/><Relationship Id="rId5" Type="http://schemas.openxmlformats.org/officeDocument/2006/relationships/image" Target="../media/image14.jpeg"/><Relationship Id="rId4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22268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21" name="think-cell Slide" r:id="rId5" imgW="377" imgH="377" progId="TCLayout.ActiveDocument.1">
                  <p:embed/>
                </p:oleObj>
              </mc:Choice>
              <mc:Fallback>
                <p:oleObj name="think-cell Slide" r:id="rId5" imgW="377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reeform 111"/>
          <p:cNvSpPr>
            <a:spLocks/>
          </p:cNvSpPr>
          <p:nvPr/>
        </p:nvSpPr>
        <p:spPr bwMode="auto">
          <a:xfrm>
            <a:off x="4088674" y="5501059"/>
            <a:ext cx="8355996" cy="1493465"/>
          </a:xfrm>
          <a:custGeom>
            <a:avLst/>
            <a:gdLst>
              <a:gd name="T0" fmla="*/ 0 w 8788"/>
              <a:gd name="T1" fmla="*/ 2571 h 2571"/>
              <a:gd name="T2" fmla="*/ 8788 w 8788"/>
              <a:gd name="T3" fmla="*/ 2571 h 2571"/>
              <a:gd name="T4" fmla="*/ 8788 w 8788"/>
              <a:gd name="T5" fmla="*/ 2070 h 2571"/>
              <a:gd name="T6" fmla="*/ 0 w 8788"/>
              <a:gd name="T7" fmla="*/ 2571 h 25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788" h="2571">
                <a:moveTo>
                  <a:pt x="0" y="2571"/>
                </a:moveTo>
                <a:lnTo>
                  <a:pt x="8788" y="2571"/>
                </a:lnTo>
                <a:lnTo>
                  <a:pt x="8788" y="2070"/>
                </a:lnTo>
                <a:cubicBezTo>
                  <a:pt x="6191" y="0"/>
                  <a:pt x="2404" y="167"/>
                  <a:pt x="0" y="2571"/>
                </a:cubicBezTo>
              </a:path>
            </a:pathLst>
          </a:custGeom>
          <a:solidFill>
            <a:srgbClr val="7FBA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" name="Freeform 263"/>
          <p:cNvSpPr>
            <a:spLocks/>
          </p:cNvSpPr>
          <p:nvPr/>
        </p:nvSpPr>
        <p:spPr bwMode="auto">
          <a:xfrm>
            <a:off x="7380723" y="6158015"/>
            <a:ext cx="5063946" cy="836509"/>
          </a:xfrm>
          <a:custGeom>
            <a:avLst/>
            <a:gdLst>
              <a:gd name="T0" fmla="*/ 3769 w 4819"/>
              <a:gd name="T1" fmla="*/ 322 h 1038"/>
              <a:gd name="T2" fmla="*/ 2979 w 4819"/>
              <a:gd name="T3" fmla="*/ 87 h 1038"/>
              <a:gd name="T4" fmla="*/ 2571 w 4819"/>
              <a:gd name="T5" fmla="*/ 44 h 1038"/>
              <a:gd name="T6" fmla="*/ 0 w 4819"/>
              <a:gd name="T7" fmla="*/ 1038 h 1038"/>
              <a:gd name="T8" fmla="*/ 1706 w 4819"/>
              <a:gd name="T9" fmla="*/ 1038 h 1038"/>
              <a:gd name="T10" fmla="*/ 4819 w 4819"/>
              <a:gd name="T11" fmla="*/ 1038 h 1038"/>
              <a:gd name="T12" fmla="*/ 3769 w 4819"/>
              <a:gd name="T13" fmla="*/ 322 h 10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819" h="1038">
                <a:moveTo>
                  <a:pt x="3769" y="322"/>
                </a:moveTo>
                <a:cubicBezTo>
                  <a:pt x="3514" y="211"/>
                  <a:pt x="3249" y="133"/>
                  <a:pt x="2979" y="87"/>
                </a:cubicBezTo>
                <a:cubicBezTo>
                  <a:pt x="2844" y="65"/>
                  <a:pt x="2708" y="50"/>
                  <a:pt x="2571" y="44"/>
                </a:cubicBezTo>
                <a:cubicBezTo>
                  <a:pt x="1646" y="0"/>
                  <a:pt x="707" y="331"/>
                  <a:pt x="0" y="1038"/>
                </a:cubicBezTo>
                <a:lnTo>
                  <a:pt x="1706" y="1038"/>
                </a:lnTo>
                <a:lnTo>
                  <a:pt x="4819" y="1038"/>
                </a:lnTo>
                <a:cubicBezTo>
                  <a:pt x="4507" y="726"/>
                  <a:pt x="4150" y="488"/>
                  <a:pt x="3769" y="322"/>
                </a:cubicBezTo>
              </a:path>
            </a:pathLst>
          </a:custGeom>
          <a:solidFill>
            <a:srgbClr val="BAD80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3F3F3F"/>
              </a:solidFill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6576920" y="3978463"/>
            <a:ext cx="4004689" cy="2176452"/>
            <a:chOff x="3982076" y="4694333"/>
            <a:chExt cx="4156084" cy="2029930"/>
          </a:xfrm>
        </p:grpSpPr>
        <p:sp>
          <p:nvSpPr>
            <p:cNvPr id="8" name="Rectangle 7"/>
            <p:cNvSpPr>
              <a:spLocks noChangeArrowheads="1"/>
            </p:cNvSpPr>
            <p:nvPr/>
          </p:nvSpPr>
          <p:spPr bwMode="auto">
            <a:xfrm>
              <a:off x="3982076" y="6653725"/>
              <a:ext cx="640080" cy="70538"/>
            </a:xfrm>
            <a:prstGeom prst="rect">
              <a:avLst/>
            </a:prstGeom>
            <a:solidFill>
              <a:srgbClr val="7FB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66155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32316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98471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64631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30787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96947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63102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729258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323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" name="Freeform 8"/>
            <p:cNvSpPr>
              <a:spLocks/>
            </p:cNvSpPr>
            <p:nvPr/>
          </p:nvSpPr>
          <p:spPr bwMode="auto">
            <a:xfrm>
              <a:off x="4857164" y="5730850"/>
              <a:ext cx="1181514" cy="993413"/>
            </a:xfrm>
            <a:custGeom>
              <a:avLst/>
              <a:gdLst>
                <a:gd name="T0" fmla="*/ 332 w 603"/>
                <a:gd name="T1" fmla="*/ 86 h 507"/>
                <a:gd name="T2" fmla="*/ 332 w 603"/>
                <a:gd name="T3" fmla="*/ 0 h 507"/>
                <a:gd name="T4" fmla="*/ 398 w 603"/>
                <a:gd name="T5" fmla="*/ 0 h 507"/>
                <a:gd name="T6" fmla="*/ 398 w 603"/>
                <a:gd name="T7" fmla="*/ 86 h 507"/>
                <a:gd name="T8" fmla="*/ 420 w 603"/>
                <a:gd name="T9" fmla="*/ 86 h 507"/>
                <a:gd name="T10" fmla="*/ 420 w 603"/>
                <a:gd name="T11" fmla="*/ 0 h 507"/>
                <a:gd name="T12" fmla="*/ 486 w 603"/>
                <a:gd name="T13" fmla="*/ 0 h 507"/>
                <a:gd name="T14" fmla="*/ 486 w 603"/>
                <a:gd name="T15" fmla="*/ 86 h 507"/>
                <a:gd name="T16" fmla="*/ 603 w 603"/>
                <a:gd name="T17" fmla="*/ 86 h 507"/>
                <a:gd name="T18" fmla="*/ 603 w 603"/>
                <a:gd name="T19" fmla="*/ 106 h 507"/>
                <a:gd name="T20" fmla="*/ 576 w 603"/>
                <a:gd name="T21" fmla="*/ 106 h 507"/>
                <a:gd name="T22" fmla="*/ 576 w 603"/>
                <a:gd name="T23" fmla="*/ 507 h 507"/>
                <a:gd name="T24" fmla="*/ 28 w 603"/>
                <a:gd name="T25" fmla="*/ 507 h 507"/>
                <a:gd name="T26" fmla="*/ 28 w 603"/>
                <a:gd name="T27" fmla="*/ 106 h 507"/>
                <a:gd name="T28" fmla="*/ 0 w 603"/>
                <a:gd name="T29" fmla="*/ 106 h 507"/>
                <a:gd name="T30" fmla="*/ 0 w 603"/>
                <a:gd name="T31" fmla="*/ 86 h 507"/>
                <a:gd name="T32" fmla="*/ 332 w 603"/>
                <a:gd name="T33" fmla="*/ 86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03" h="507">
                  <a:moveTo>
                    <a:pt x="332" y="86"/>
                  </a:moveTo>
                  <a:lnTo>
                    <a:pt x="332" y="0"/>
                  </a:lnTo>
                  <a:lnTo>
                    <a:pt x="398" y="0"/>
                  </a:lnTo>
                  <a:lnTo>
                    <a:pt x="398" y="86"/>
                  </a:lnTo>
                  <a:lnTo>
                    <a:pt x="420" y="86"/>
                  </a:lnTo>
                  <a:lnTo>
                    <a:pt x="420" y="0"/>
                  </a:lnTo>
                  <a:lnTo>
                    <a:pt x="486" y="0"/>
                  </a:lnTo>
                  <a:lnTo>
                    <a:pt x="486" y="86"/>
                  </a:lnTo>
                  <a:lnTo>
                    <a:pt x="603" y="86"/>
                  </a:lnTo>
                  <a:lnTo>
                    <a:pt x="603" y="106"/>
                  </a:lnTo>
                  <a:lnTo>
                    <a:pt x="576" y="106"/>
                  </a:lnTo>
                  <a:lnTo>
                    <a:pt x="576" y="507"/>
                  </a:lnTo>
                  <a:lnTo>
                    <a:pt x="28" y="507"/>
                  </a:lnTo>
                  <a:lnTo>
                    <a:pt x="28" y="106"/>
                  </a:lnTo>
                  <a:lnTo>
                    <a:pt x="0" y="106"/>
                  </a:lnTo>
                  <a:lnTo>
                    <a:pt x="0" y="86"/>
                  </a:lnTo>
                  <a:lnTo>
                    <a:pt x="332" y="86"/>
                  </a:lnTo>
                  <a:close/>
                </a:path>
              </a:pathLst>
            </a:custGeom>
            <a:solidFill>
              <a:sysClr val="window" lastClr="FFFFFF">
                <a:lumMod val="75000"/>
              </a:sys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66155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32316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98471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64631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30787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96947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63102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729258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323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" name="Rectangle 9"/>
            <p:cNvSpPr>
              <a:spLocks noChangeArrowheads="1"/>
            </p:cNvSpPr>
            <p:nvPr/>
          </p:nvSpPr>
          <p:spPr bwMode="auto">
            <a:xfrm>
              <a:off x="5399915" y="6653725"/>
              <a:ext cx="403635" cy="70538"/>
            </a:xfrm>
            <a:prstGeom prst="rect">
              <a:avLst/>
            </a:prstGeom>
            <a:solidFill>
              <a:srgbClr val="7FB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66155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32316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98471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64631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30787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96947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63102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729258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323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6095685" y="5730850"/>
              <a:ext cx="1181514" cy="993413"/>
            </a:xfrm>
            <a:custGeom>
              <a:avLst/>
              <a:gdLst>
                <a:gd name="T0" fmla="*/ 333 w 603"/>
                <a:gd name="T1" fmla="*/ 86 h 507"/>
                <a:gd name="T2" fmla="*/ 333 w 603"/>
                <a:gd name="T3" fmla="*/ 0 h 507"/>
                <a:gd name="T4" fmla="*/ 397 w 603"/>
                <a:gd name="T5" fmla="*/ 0 h 507"/>
                <a:gd name="T6" fmla="*/ 397 w 603"/>
                <a:gd name="T7" fmla="*/ 86 h 507"/>
                <a:gd name="T8" fmla="*/ 420 w 603"/>
                <a:gd name="T9" fmla="*/ 86 h 507"/>
                <a:gd name="T10" fmla="*/ 420 w 603"/>
                <a:gd name="T11" fmla="*/ 0 h 507"/>
                <a:gd name="T12" fmla="*/ 486 w 603"/>
                <a:gd name="T13" fmla="*/ 0 h 507"/>
                <a:gd name="T14" fmla="*/ 486 w 603"/>
                <a:gd name="T15" fmla="*/ 86 h 507"/>
                <a:gd name="T16" fmla="*/ 603 w 603"/>
                <a:gd name="T17" fmla="*/ 86 h 507"/>
                <a:gd name="T18" fmla="*/ 603 w 603"/>
                <a:gd name="T19" fmla="*/ 106 h 507"/>
                <a:gd name="T20" fmla="*/ 576 w 603"/>
                <a:gd name="T21" fmla="*/ 106 h 507"/>
                <a:gd name="T22" fmla="*/ 576 w 603"/>
                <a:gd name="T23" fmla="*/ 507 h 507"/>
                <a:gd name="T24" fmla="*/ 28 w 603"/>
                <a:gd name="T25" fmla="*/ 507 h 507"/>
                <a:gd name="T26" fmla="*/ 28 w 603"/>
                <a:gd name="T27" fmla="*/ 106 h 507"/>
                <a:gd name="T28" fmla="*/ 0 w 603"/>
                <a:gd name="T29" fmla="*/ 106 h 507"/>
                <a:gd name="T30" fmla="*/ 0 w 603"/>
                <a:gd name="T31" fmla="*/ 86 h 507"/>
                <a:gd name="T32" fmla="*/ 333 w 603"/>
                <a:gd name="T33" fmla="*/ 86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03" h="507">
                  <a:moveTo>
                    <a:pt x="333" y="86"/>
                  </a:moveTo>
                  <a:lnTo>
                    <a:pt x="333" y="0"/>
                  </a:lnTo>
                  <a:lnTo>
                    <a:pt x="397" y="0"/>
                  </a:lnTo>
                  <a:lnTo>
                    <a:pt x="397" y="86"/>
                  </a:lnTo>
                  <a:lnTo>
                    <a:pt x="420" y="86"/>
                  </a:lnTo>
                  <a:lnTo>
                    <a:pt x="420" y="0"/>
                  </a:lnTo>
                  <a:lnTo>
                    <a:pt x="486" y="0"/>
                  </a:lnTo>
                  <a:lnTo>
                    <a:pt x="486" y="86"/>
                  </a:lnTo>
                  <a:lnTo>
                    <a:pt x="603" y="86"/>
                  </a:lnTo>
                  <a:lnTo>
                    <a:pt x="603" y="106"/>
                  </a:lnTo>
                  <a:lnTo>
                    <a:pt x="576" y="106"/>
                  </a:lnTo>
                  <a:lnTo>
                    <a:pt x="576" y="507"/>
                  </a:lnTo>
                  <a:lnTo>
                    <a:pt x="28" y="507"/>
                  </a:lnTo>
                  <a:lnTo>
                    <a:pt x="28" y="106"/>
                  </a:lnTo>
                  <a:lnTo>
                    <a:pt x="0" y="106"/>
                  </a:lnTo>
                  <a:lnTo>
                    <a:pt x="0" y="86"/>
                  </a:lnTo>
                  <a:lnTo>
                    <a:pt x="333" y="86"/>
                  </a:lnTo>
                  <a:close/>
                </a:path>
              </a:pathLst>
            </a:custGeom>
            <a:solidFill>
              <a:sysClr val="window" lastClr="FFFFFF">
                <a:lumMod val="75000"/>
              </a:sys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66155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32316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98471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64631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30787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96947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63102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729258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323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4234077" y="5730850"/>
              <a:ext cx="1181514" cy="993413"/>
            </a:xfrm>
            <a:custGeom>
              <a:avLst/>
              <a:gdLst>
                <a:gd name="T0" fmla="*/ 333 w 603"/>
                <a:gd name="T1" fmla="*/ 86 h 507"/>
                <a:gd name="T2" fmla="*/ 333 w 603"/>
                <a:gd name="T3" fmla="*/ 0 h 507"/>
                <a:gd name="T4" fmla="*/ 397 w 603"/>
                <a:gd name="T5" fmla="*/ 0 h 507"/>
                <a:gd name="T6" fmla="*/ 397 w 603"/>
                <a:gd name="T7" fmla="*/ 86 h 507"/>
                <a:gd name="T8" fmla="*/ 420 w 603"/>
                <a:gd name="T9" fmla="*/ 86 h 507"/>
                <a:gd name="T10" fmla="*/ 420 w 603"/>
                <a:gd name="T11" fmla="*/ 0 h 507"/>
                <a:gd name="T12" fmla="*/ 486 w 603"/>
                <a:gd name="T13" fmla="*/ 0 h 507"/>
                <a:gd name="T14" fmla="*/ 486 w 603"/>
                <a:gd name="T15" fmla="*/ 86 h 507"/>
                <a:gd name="T16" fmla="*/ 603 w 603"/>
                <a:gd name="T17" fmla="*/ 86 h 507"/>
                <a:gd name="T18" fmla="*/ 603 w 603"/>
                <a:gd name="T19" fmla="*/ 106 h 507"/>
                <a:gd name="T20" fmla="*/ 576 w 603"/>
                <a:gd name="T21" fmla="*/ 106 h 507"/>
                <a:gd name="T22" fmla="*/ 576 w 603"/>
                <a:gd name="T23" fmla="*/ 507 h 507"/>
                <a:gd name="T24" fmla="*/ 28 w 603"/>
                <a:gd name="T25" fmla="*/ 507 h 507"/>
                <a:gd name="T26" fmla="*/ 28 w 603"/>
                <a:gd name="T27" fmla="*/ 106 h 507"/>
                <a:gd name="T28" fmla="*/ 0 w 603"/>
                <a:gd name="T29" fmla="*/ 106 h 507"/>
                <a:gd name="T30" fmla="*/ 0 w 603"/>
                <a:gd name="T31" fmla="*/ 86 h 507"/>
                <a:gd name="T32" fmla="*/ 333 w 603"/>
                <a:gd name="T33" fmla="*/ 86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03" h="507">
                  <a:moveTo>
                    <a:pt x="333" y="86"/>
                  </a:moveTo>
                  <a:lnTo>
                    <a:pt x="333" y="0"/>
                  </a:lnTo>
                  <a:lnTo>
                    <a:pt x="397" y="0"/>
                  </a:lnTo>
                  <a:lnTo>
                    <a:pt x="397" y="86"/>
                  </a:lnTo>
                  <a:lnTo>
                    <a:pt x="420" y="86"/>
                  </a:lnTo>
                  <a:lnTo>
                    <a:pt x="420" y="0"/>
                  </a:lnTo>
                  <a:lnTo>
                    <a:pt x="486" y="0"/>
                  </a:lnTo>
                  <a:lnTo>
                    <a:pt x="486" y="86"/>
                  </a:lnTo>
                  <a:lnTo>
                    <a:pt x="603" y="86"/>
                  </a:lnTo>
                  <a:lnTo>
                    <a:pt x="603" y="106"/>
                  </a:lnTo>
                  <a:lnTo>
                    <a:pt x="576" y="106"/>
                  </a:lnTo>
                  <a:lnTo>
                    <a:pt x="576" y="507"/>
                  </a:lnTo>
                  <a:lnTo>
                    <a:pt x="28" y="507"/>
                  </a:lnTo>
                  <a:lnTo>
                    <a:pt x="28" y="106"/>
                  </a:lnTo>
                  <a:lnTo>
                    <a:pt x="0" y="106"/>
                  </a:lnTo>
                  <a:lnTo>
                    <a:pt x="0" y="86"/>
                  </a:lnTo>
                  <a:lnTo>
                    <a:pt x="333" y="86"/>
                  </a:lnTo>
                  <a:close/>
                </a:path>
              </a:pathLst>
            </a:custGeom>
            <a:solidFill>
              <a:sysClr val="window" lastClr="FFFFFF">
                <a:lumMod val="75000"/>
              </a:sys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66155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32316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98471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64631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30787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96947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63102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729258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323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" name="Rectangle 12"/>
            <p:cNvSpPr>
              <a:spLocks noChangeArrowheads="1"/>
            </p:cNvSpPr>
            <p:nvPr/>
          </p:nvSpPr>
          <p:spPr bwMode="auto">
            <a:xfrm>
              <a:off x="5719297" y="5382079"/>
              <a:ext cx="1075706" cy="1342184"/>
            </a:xfrm>
            <a:prstGeom prst="rect">
              <a:avLst/>
            </a:prstGeom>
            <a:solidFill>
              <a:srgbClr val="AB008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66155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32316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98471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64631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30787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96947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63102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729258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323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" name="Rectangle 13"/>
            <p:cNvSpPr>
              <a:spLocks noChangeArrowheads="1"/>
            </p:cNvSpPr>
            <p:nvPr/>
          </p:nvSpPr>
          <p:spPr bwMode="auto">
            <a:xfrm>
              <a:off x="5666393" y="5340932"/>
              <a:ext cx="1179554" cy="41148"/>
            </a:xfrm>
            <a:prstGeom prst="rect">
              <a:avLst/>
            </a:prstGeom>
            <a:solidFill>
              <a:srgbClr val="AB008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66155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32316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98471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64631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30787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96947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63102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729258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323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" name="Rectangle 14"/>
            <p:cNvSpPr>
              <a:spLocks noChangeArrowheads="1"/>
            </p:cNvSpPr>
            <p:nvPr/>
          </p:nvSpPr>
          <p:spPr bwMode="auto">
            <a:xfrm>
              <a:off x="6311033" y="6451907"/>
              <a:ext cx="139116" cy="272356"/>
            </a:xfrm>
            <a:prstGeom prst="rect">
              <a:avLst/>
            </a:prstGeom>
            <a:solidFill>
              <a:srgbClr val="AB0086">
                <a:lumMod val="5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66155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32316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98471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64631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30787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96947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63102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729258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323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" name="Rectangle 15"/>
            <p:cNvSpPr>
              <a:spLocks noChangeArrowheads="1"/>
            </p:cNvSpPr>
            <p:nvPr/>
          </p:nvSpPr>
          <p:spPr bwMode="auto">
            <a:xfrm>
              <a:off x="6068069" y="6451907"/>
              <a:ext cx="141077" cy="272356"/>
            </a:xfrm>
            <a:prstGeom prst="rect">
              <a:avLst/>
            </a:prstGeom>
            <a:solidFill>
              <a:srgbClr val="AB0086">
                <a:lumMod val="5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66155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32316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98471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64631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30787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96947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63102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729258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323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" name="Rectangle 16"/>
            <p:cNvSpPr>
              <a:spLocks noChangeArrowheads="1"/>
            </p:cNvSpPr>
            <p:nvPr/>
          </p:nvSpPr>
          <p:spPr bwMode="auto">
            <a:xfrm>
              <a:off x="5827063" y="5503561"/>
              <a:ext cx="866052" cy="139117"/>
            </a:xfrm>
            <a:prstGeom prst="rect">
              <a:avLst/>
            </a:prstGeom>
            <a:solidFill>
              <a:srgbClr val="AB0086">
                <a:lumMod val="5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66155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32316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98471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64631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30787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96947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63102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729258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323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" name="Rectangle 17"/>
            <p:cNvSpPr>
              <a:spLocks noChangeArrowheads="1"/>
            </p:cNvSpPr>
            <p:nvPr/>
          </p:nvSpPr>
          <p:spPr bwMode="auto">
            <a:xfrm>
              <a:off x="5827063" y="5744567"/>
              <a:ext cx="866052" cy="141077"/>
            </a:xfrm>
            <a:prstGeom prst="rect">
              <a:avLst/>
            </a:prstGeom>
            <a:solidFill>
              <a:srgbClr val="AB0086">
                <a:lumMod val="5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66155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32316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98471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64631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30787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96947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63102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729258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323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" name="Rectangle 18"/>
            <p:cNvSpPr>
              <a:spLocks noChangeArrowheads="1"/>
            </p:cNvSpPr>
            <p:nvPr/>
          </p:nvSpPr>
          <p:spPr bwMode="auto">
            <a:xfrm>
              <a:off x="5827063" y="5985572"/>
              <a:ext cx="866052" cy="141077"/>
            </a:xfrm>
            <a:prstGeom prst="rect">
              <a:avLst/>
            </a:prstGeom>
            <a:solidFill>
              <a:srgbClr val="AB0086">
                <a:lumMod val="5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66155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32316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98471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64631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30787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96947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63102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729258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323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" name="Rectangle 19"/>
            <p:cNvSpPr>
              <a:spLocks noChangeArrowheads="1"/>
            </p:cNvSpPr>
            <p:nvPr/>
          </p:nvSpPr>
          <p:spPr bwMode="auto">
            <a:xfrm>
              <a:off x="5827063" y="6226578"/>
              <a:ext cx="866052" cy="141077"/>
            </a:xfrm>
            <a:prstGeom prst="rect">
              <a:avLst/>
            </a:prstGeom>
            <a:solidFill>
              <a:srgbClr val="AB0086">
                <a:lumMod val="5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66155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32316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98471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64631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30787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96947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63102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729258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323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" name="Rectangle 20"/>
            <p:cNvSpPr>
              <a:spLocks noChangeArrowheads="1"/>
            </p:cNvSpPr>
            <p:nvPr/>
          </p:nvSpPr>
          <p:spPr bwMode="auto">
            <a:xfrm>
              <a:off x="6794997" y="6653725"/>
              <a:ext cx="1343163" cy="70538"/>
            </a:xfrm>
            <a:prstGeom prst="rect">
              <a:avLst/>
            </a:prstGeom>
            <a:solidFill>
              <a:srgbClr val="7FB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66155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32316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98471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64631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30787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96947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63102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729258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323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" name="Rectangle 21"/>
            <p:cNvSpPr>
              <a:spLocks noChangeArrowheads="1"/>
            </p:cNvSpPr>
            <p:nvPr/>
          </p:nvSpPr>
          <p:spPr bwMode="auto">
            <a:xfrm>
              <a:off x="4120303" y="6424476"/>
              <a:ext cx="62700" cy="229250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66155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32316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98471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64631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30787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96947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63102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729258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323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" name="Oval 22"/>
            <p:cNvSpPr>
              <a:spLocks noChangeArrowheads="1"/>
            </p:cNvSpPr>
            <p:nvPr/>
          </p:nvSpPr>
          <p:spPr bwMode="auto">
            <a:xfrm>
              <a:off x="4000779" y="6220699"/>
              <a:ext cx="305666" cy="305665"/>
            </a:xfrm>
            <a:prstGeom prst="ellipse">
              <a:avLst/>
            </a:prstGeom>
            <a:solidFill>
              <a:srgbClr val="7FB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66155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32316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98471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64631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30787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96947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63102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729258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323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" name="Oval 23"/>
            <p:cNvSpPr>
              <a:spLocks noChangeArrowheads="1"/>
            </p:cNvSpPr>
            <p:nvPr/>
          </p:nvSpPr>
          <p:spPr bwMode="auto">
            <a:xfrm>
              <a:off x="4039967" y="6063947"/>
              <a:ext cx="227289" cy="223371"/>
            </a:xfrm>
            <a:prstGeom prst="ellipse">
              <a:avLst/>
            </a:prstGeom>
            <a:solidFill>
              <a:srgbClr val="7FB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66155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32316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98471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64631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30787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96947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63102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729258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323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" name="Rectangle 24"/>
            <p:cNvSpPr>
              <a:spLocks noChangeArrowheads="1"/>
            </p:cNvSpPr>
            <p:nvPr/>
          </p:nvSpPr>
          <p:spPr bwMode="auto">
            <a:xfrm>
              <a:off x="5893682" y="5174384"/>
              <a:ext cx="417350" cy="166549"/>
            </a:xfrm>
            <a:prstGeom prst="rect">
              <a:avLst/>
            </a:prstGeom>
            <a:solidFill>
              <a:sysClr val="window" lastClr="FFFFFF">
                <a:lumMod val="75000"/>
              </a:sys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66155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32316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98471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64631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30787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96947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63102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729258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323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" name="Rectangle 25"/>
            <p:cNvSpPr>
              <a:spLocks noChangeArrowheads="1"/>
            </p:cNvSpPr>
            <p:nvPr/>
          </p:nvSpPr>
          <p:spPr bwMode="auto">
            <a:xfrm>
              <a:off x="4408463" y="4902029"/>
              <a:ext cx="1073746" cy="1822234"/>
            </a:xfrm>
            <a:prstGeom prst="rect">
              <a:avLst/>
            </a:prstGeom>
            <a:solidFill>
              <a:srgbClr val="9B4F9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66155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32316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98471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64631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30787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96947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63102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729258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323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" name="Rectangle 26"/>
            <p:cNvSpPr>
              <a:spLocks noChangeArrowheads="1"/>
            </p:cNvSpPr>
            <p:nvPr/>
          </p:nvSpPr>
          <p:spPr bwMode="auto">
            <a:xfrm>
              <a:off x="4353600" y="4862841"/>
              <a:ext cx="1181514" cy="39188"/>
            </a:xfrm>
            <a:prstGeom prst="rect">
              <a:avLst/>
            </a:prstGeom>
            <a:solidFill>
              <a:srgbClr val="9B4F9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66155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32316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98471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64631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30787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96947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63102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729258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323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" name="Rectangle 27"/>
            <p:cNvSpPr>
              <a:spLocks noChangeArrowheads="1"/>
            </p:cNvSpPr>
            <p:nvPr/>
          </p:nvSpPr>
          <p:spPr bwMode="auto">
            <a:xfrm>
              <a:off x="4998240" y="6451907"/>
              <a:ext cx="141077" cy="272356"/>
            </a:xfrm>
            <a:prstGeom prst="rect">
              <a:avLst/>
            </a:prstGeom>
            <a:solidFill>
              <a:srgbClr val="663300">
                <a:lumMod val="75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66155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32316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98471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64631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30787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96947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63102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729258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323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" name="Rectangle 28"/>
            <p:cNvSpPr>
              <a:spLocks noChangeArrowheads="1"/>
            </p:cNvSpPr>
            <p:nvPr/>
          </p:nvSpPr>
          <p:spPr bwMode="auto">
            <a:xfrm>
              <a:off x="4755276" y="6451907"/>
              <a:ext cx="139116" cy="272356"/>
            </a:xfrm>
            <a:prstGeom prst="rect">
              <a:avLst/>
            </a:prstGeom>
            <a:solidFill>
              <a:srgbClr val="663300">
                <a:lumMod val="75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66155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32316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98471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64631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30787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96947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63102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729258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323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" name="Rectangle 29"/>
            <p:cNvSpPr>
              <a:spLocks noChangeArrowheads="1"/>
            </p:cNvSpPr>
            <p:nvPr/>
          </p:nvSpPr>
          <p:spPr bwMode="auto">
            <a:xfrm>
              <a:off x="4512311" y="5503561"/>
              <a:ext cx="868010" cy="139117"/>
            </a:xfrm>
            <a:prstGeom prst="rect">
              <a:avLst/>
            </a:prstGeom>
            <a:solidFill>
              <a:srgbClr val="663300">
                <a:lumMod val="75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66155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32316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98471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64631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30787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96947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63102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729258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323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" name="Rectangle 30"/>
            <p:cNvSpPr>
              <a:spLocks noChangeArrowheads="1"/>
            </p:cNvSpPr>
            <p:nvPr/>
          </p:nvSpPr>
          <p:spPr bwMode="auto">
            <a:xfrm>
              <a:off x="4512311" y="5744567"/>
              <a:ext cx="868010" cy="141077"/>
            </a:xfrm>
            <a:prstGeom prst="rect">
              <a:avLst/>
            </a:prstGeom>
            <a:solidFill>
              <a:srgbClr val="663300">
                <a:lumMod val="75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66155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32316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98471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64631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30787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96947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63102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729258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323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" name="Rectangle 31"/>
            <p:cNvSpPr>
              <a:spLocks noChangeArrowheads="1"/>
            </p:cNvSpPr>
            <p:nvPr/>
          </p:nvSpPr>
          <p:spPr bwMode="auto">
            <a:xfrm>
              <a:off x="4512311" y="5985572"/>
              <a:ext cx="868010" cy="141077"/>
            </a:xfrm>
            <a:prstGeom prst="rect">
              <a:avLst/>
            </a:prstGeom>
            <a:solidFill>
              <a:srgbClr val="663300">
                <a:lumMod val="75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66155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32316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98471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64631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30787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96947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63102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729258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323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" name="Rectangle 32"/>
            <p:cNvSpPr>
              <a:spLocks noChangeArrowheads="1"/>
            </p:cNvSpPr>
            <p:nvPr/>
          </p:nvSpPr>
          <p:spPr bwMode="auto">
            <a:xfrm>
              <a:off x="4512311" y="6226578"/>
              <a:ext cx="868010" cy="141077"/>
            </a:xfrm>
            <a:prstGeom prst="rect">
              <a:avLst/>
            </a:prstGeom>
            <a:solidFill>
              <a:srgbClr val="663300">
                <a:lumMod val="75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66155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32316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98471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64631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30787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96947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63102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729258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323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" name="Rectangle 33"/>
            <p:cNvSpPr>
              <a:spLocks noChangeArrowheads="1"/>
            </p:cNvSpPr>
            <p:nvPr/>
          </p:nvSpPr>
          <p:spPr bwMode="auto">
            <a:xfrm>
              <a:off x="4512311" y="5021551"/>
              <a:ext cx="868010" cy="139117"/>
            </a:xfrm>
            <a:prstGeom prst="rect">
              <a:avLst/>
            </a:prstGeom>
            <a:solidFill>
              <a:srgbClr val="663300">
                <a:lumMod val="75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66155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32316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98471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64631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30787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96947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63102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729258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323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" name="Rectangle 34"/>
            <p:cNvSpPr>
              <a:spLocks noChangeArrowheads="1"/>
            </p:cNvSpPr>
            <p:nvPr/>
          </p:nvSpPr>
          <p:spPr bwMode="auto">
            <a:xfrm>
              <a:off x="4512311" y="5262557"/>
              <a:ext cx="868010" cy="139117"/>
            </a:xfrm>
            <a:prstGeom prst="rect">
              <a:avLst/>
            </a:prstGeom>
            <a:solidFill>
              <a:srgbClr val="663300">
                <a:lumMod val="75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66155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32316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98471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64631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30787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96947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63102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729258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323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" name="Rectangle 35"/>
            <p:cNvSpPr>
              <a:spLocks noChangeArrowheads="1"/>
            </p:cNvSpPr>
            <p:nvPr/>
          </p:nvSpPr>
          <p:spPr bwMode="auto">
            <a:xfrm>
              <a:off x="5176544" y="4694333"/>
              <a:ext cx="129320" cy="168508"/>
            </a:xfrm>
            <a:prstGeom prst="rect">
              <a:avLst/>
            </a:prstGeom>
            <a:solidFill>
              <a:sysClr val="window" lastClr="FFFFFF">
                <a:lumMod val="75000"/>
              </a:sys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66155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32316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98471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64631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30787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96947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63102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729258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323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" name="Rectangle 36"/>
            <p:cNvSpPr>
              <a:spLocks noChangeArrowheads="1"/>
            </p:cNvSpPr>
            <p:nvPr/>
          </p:nvSpPr>
          <p:spPr bwMode="auto">
            <a:xfrm>
              <a:off x="5004118" y="4694333"/>
              <a:ext cx="127360" cy="168508"/>
            </a:xfrm>
            <a:prstGeom prst="rect">
              <a:avLst/>
            </a:prstGeom>
            <a:solidFill>
              <a:sysClr val="window" lastClr="FFFFFF">
                <a:lumMod val="75000"/>
              </a:sys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66155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32316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98471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64631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30787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96947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63102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729258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323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" name="Freeform 37"/>
            <p:cNvSpPr>
              <a:spLocks/>
            </p:cNvSpPr>
            <p:nvPr/>
          </p:nvSpPr>
          <p:spPr bwMode="auto">
            <a:xfrm>
              <a:off x="6514810" y="5035268"/>
              <a:ext cx="280193" cy="305665"/>
            </a:xfrm>
            <a:custGeom>
              <a:avLst/>
              <a:gdLst>
                <a:gd name="T0" fmla="*/ 71 w 143"/>
                <a:gd name="T1" fmla="*/ 0 h 156"/>
                <a:gd name="T2" fmla="*/ 71 w 143"/>
                <a:gd name="T3" fmla="*/ 0 h 156"/>
                <a:gd name="T4" fmla="*/ 0 w 143"/>
                <a:gd name="T5" fmla="*/ 156 h 156"/>
                <a:gd name="T6" fmla="*/ 143 w 143"/>
                <a:gd name="T7" fmla="*/ 156 h 156"/>
                <a:gd name="T8" fmla="*/ 71 w 143"/>
                <a:gd name="T9" fmla="*/ 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3" h="156">
                  <a:moveTo>
                    <a:pt x="71" y="0"/>
                  </a:moveTo>
                  <a:lnTo>
                    <a:pt x="71" y="0"/>
                  </a:lnTo>
                  <a:lnTo>
                    <a:pt x="0" y="156"/>
                  </a:lnTo>
                  <a:lnTo>
                    <a:pt x="143" y="156"/>
                  </a:lnTo>
                  <a:lnTo>
                    <a:pt x="71" y="0"/>
                  </a:lnTo>
                  <a:close/>
                </a:path>
              </a:pathLst>
            </a:custGeom>
            <a:solidFill>
              <a:srgbClr val="AB008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66155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32316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98471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64631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30787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96947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63102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729258" algn="l" defTabSz="93231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323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39" name="Group 38"/>
          <p:cNvGrpSpPr/>
          <p:nvPr/>
        </p:nvGrpSpPr>
        <p:grpSpPr>
          <a:xfrm>
            <a:off x="10567325" y="4613561"/>
            <a:ext cx="545093" cy="1749563"/>
            <a:chOff x="9757348" y="4314829"/>
            <a:chExt cx="513108" cy="1749563"/>
          </a:xfrm>
        </p:grpSpPr>
        <p:sp>
          <p:nvSpPr>
            <p:cNvPr id="40" name="Rounded Rectangle 39"/>
            <p:cNvSpPr/>
            <p:nvPr/>
          </p:nvSpPr>
          <p:spPr bwMode="auto">
            <a:xfrm>
              <a:off x="10215199" y="5099682"/>
              <a:ext cx="47363" cy="105938"/>
            </a:xfrm>
            <a:prstGeom prst="roundRect">
              <a:avLst>
                <a:gd name="adj" fmla="val 50000"/>
              </a:avLst>
            </a:prstGeom>
            <a:solidFill>
              <a:srgbClr val="FFC000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 smtClean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1" name="Freeform 40"/>
            <p:cNvSpPr/>
            <p:nvPr/>
          </p:nvSpPr>
          <p:spPr bwMode="auto">
            <a:xfrm flipH="1">
              <a:off x="9854994" y="5102232"/>
              <a:ext cx="321493" cy="892704"/>
            </a:xfrm>
            <a:custGeom>
              <a:avLst/>
              <a:gdLst>
                <a:gd name="connsiteX0" fmla="*/ 525245 w 525245"/>
                <a:gd name="connsiteY0" fmla="*/ 0 h 1144902"/>
                <a:gd name="connsiteX1" fmla="*/ 312606 w 525245"/>
                <a:gd name="connsiteY1" fmla="*/ 0 h 1144902"/>
                <a:gd name="connsiteX2" fmla="*/ 312606 w 525245"/>
                <a:gd name="connsiteY2" fmla="*/ 33054 h 1144902"/>
                <a:gd name="connsiteX3" fmla="*/ 198983 w 525245"/>
                <a:gd name="connsiteY3" fmla="*/ 33054 h 1144902"/>
                <a:gd name="connsiteX4" fmla="*/ 198983 w 525245"/>
                <a:gd name="connsiteY4" fmla="*/ 0 h 1144902"/>
                <a:gd name="connsiteX5" fmla="*/ 0 w 525245"/>
                <a:gd name="connsiteY5" fmla="*/ 0 h 1144902"/>
                <a:gd name="connsiteX6" fmla="*/ 0 w 525245"/>
                <a:gd name="connsiteY6" fmla="*/ 45719 h 1144902"/>
                <a:gd name="connsiteX7" fmla="*/ 20739 w 525245"/>
                <a:gd name="connsiteY7" fmla="*/ 45719 h 1144902"/>
                <a:gd name="connsiteX8" fmla="*/ 73857 w 525245"/>
                <a:gd name="connsiteY8" fmla="*/ 1144902 h 1144902"/>
                <a:gd name="connsiteX9" fmla="*/ 223876 w 525245"/>
                <a:gd name="connsiteY9" fmla="*/ 1142521 h 1144902"/>
                <a:gd name="connsiteX10" fmla="*/ 263646 w 525245"/>
                <a:gd name="connsiteY10" fmla="*/ 218443 h 1144902"/>
                <a:gd name="connsiteX11" fmla="*/ 267345 w 525245"/>
                <a:gd name="connsiteY11" fmla="*/ 217759 h 1144902"/>
                <a:gd name="connsiteX12" fmla="*/ 302458 w 525245"/>
                <a:gd name="connsiteY12" fmla="*/ 1135377 h 1144902"/>
                <a:gd name="connsiteX13" fmla="*/ 454857 w 525245"/>
                <a:gd name="connsiteY13" fmla="*/ 1132996 h 1144902"/>
                <a:gd name="connsiteX14" fmla="*/ 500546 w 525245"/>
                <a:gd name="connsiteY14" fmla="*/ 45719 h 1144902"/>
                <a:gd name="connsiteX15" fmla="*/ 525245 w 525245"/>
                <a:gd name="connsiteY15" fmla="*/ 45719 h 1144902"/>
                <a:gd name="connsiteX0" fmla="*/ 525245 w 525245"/>
                <a:gd name="connsiteY0" fmla="*/ 0 h 1144902"/>
                <a:gd name="connsiteX1" fmla="*/ 312606 w 525245"/>
                <a:gd name="connsiteY1" fmla="*/ 0 h 1144902"/>
                <a:gd name="connsiteX2" fmla="*/ 312606 w 525245"/>
                <a:gd name="connsiteY2" fmla="*/ 33054 h 1144902"/>
                <a:gd name="connsiteX3" fmla="*/ 198983 w 525245"/>
                <a:gd name="connsiteY3" fmla="*/ 33054 h 1144902"/>
                <a:gd name="connsiteX4" fmla="*/ 198983 w 525245"/>
                <a:gd name="connsiteY4" fmla="*/ 0 h 1144902"/>
                <a:gd name="connsiteX5" fmla="*/ 0 w 525245"/>
                <a:gd name="connsiteY5" fmla="*/ 0 h 1144902"/>
                <a:gd name="connsiteX6" fmla="*/ 0 w 525245"/>
                <a:gd name="connsiteY6" fmla="*/ 45719 h 1144902"/>
                <a:gd name="connsiteX7" fmla="*/ 20739 w 525245"/>
                <a:gd name="connsiteY7" fmla="*/ 45719 h 1144902"/>
                <a:gd name="connsiteX8" fmla="*/ 73857 w 525245"/>
                <a:gd name="connsiteY8" fmla="*/ 1144902 h 1144902"/>
                <a:gd name="connsiteX9" fmla="*/ 223876 w 525245"/>
                <a:gd name="connsiteY9" fmla="*/ 1142521 h 1144902"/>
                <a:gd name="connsiteX10" fmla="*/ 263646 w 525245"/>
                <a:gd name="connsiteY10" fmla="*/ 218443 h 1144902"/>
                <a:gd name="connsiteX11" fmla="*/ 267345 w 525245"/>
                <a:gd name="connsiteY11" fmla="*/ 217759 h 1144902"/>
                <a:gd name="connsiteX12" fmla="*/ 302458 w 525245"/>
                <a:gd name="connsiteY12" fmla="*/ 1135377 h 1144902"/>
                <a:gd name="connsiteX13" fmla="*/ 454857 w 525245"/>
                <a:gd name="connsiteY13" fmla="*/ 1132996 h 1144902"/>
                <a:gd name="connsiteX14" fmla="*/ 504375 w 525245"/>
                <a:gd name="connsiteY14" fmla="*/ 223853 h 1144902"/>
                <a:gd name="connsiteX15" fmla="*/ 500546 w 525245"/>
                <a:gd name="connsiteY15" fmla="*/ 45719 h 1144902"/>
                <a:gd name="connsiteX16" fmla="*/ 525245 w 525245"/>
                <a:gd name="connsiteY16" fmla="*/ 45719 h 1144902"/>
                <a:gd name="connsiteX17" fmla="*/ 525245 w 525245"/>
                <a:gd name="connsiteY17" fmla="*/ 0 h 1144902"/>
                <a:gd name="connsiteX0" fmla="*/ 525245 w 525245"/>
                <a:gd name="connsiteY0" fmla="*/ 0 h 1144902"/>
                <a:gd name="connsiteX1" fmla="*/ 312606 w 525245"/>
                <a:gd name="connsiteY1" fmla="*/ 0 h 1144902"/>
                <a:gd name="connsiteX2" fmla="*/ 312606 w 525245"/>
                <a:gd name="connsiteY2" fmla="*/ 33054 h 1144902"/>
                <a:gd name="connsiteX3" fmla="*/ 198983 w 525245"/>
                <a:gd name="connsiteY3" fmla="*/ 33054 h 1144902"/>
                <a:gd name="connsiteX4" fmla="*/ 198983 w 525245"/>
                <a:gd name="connsiteY4" fmla="*/ 0 h 1144902"/>
                <a:gd name="connsiteX5" fmla="*/ 0 w 525245"/>
                <a:gd name="connsiteY5" fmla="*/ 0 h 1144902"/>
                <a:gd name="connsiteX6" fmla="*/ 0 w 525245"/>
                <a:gd name="connsiteY6" fmla="*/ 45719 h 1144902"/>
                <a:gd name="connsiteX7" fmla="*/ 20739 w 525245"/>
                <a:gd name="connsiteY7" fmla="*/ 45719 h 1144902"/>
                <a:gd name="connsiteX8" fmla="*/ 18408 w 525245"/>
                <a:gd name="connsiteY8" fmla="*/ 218246 h 1144902"/>
                <a:gd name="connsiteX9" fmla="*/ 73857 w 525245"/>
                <a:gd name="connsiteY9" fmla="*/ 1144902 h 1144902"/>
                <a:gd name="connsiteX10" fmla="*/ 223876 w 525245"/>
                <a:gd name="connsiteY10" fmla="*/ 1142521 h 1144902"/>
                <a:gd name="connsiteX11" fmla="*/ 263646 w 525245"/>
                <a:gd name="connsiteY11" fmla="*/ 218443 h 1144902"/>
                <a:gd name="connsiteX12" fmla="*/ 267345 w 525245"/>
                <a:gd name="connsiteY12" fmla="*/ 217759 h 1144902"/>
                <a:gd name="connsiteX13" fmla="*/ 302458 w 525245"/>
                <a:gd name="connsiteY13" fmla="*/ 1135377 h 1144902"/>
                <a:gd name="connsiteX14" fmla="*/ 454857 w 525245"/>
                <a:gd name="connsiteY14" fmla="*/ 1132996 h 1144902"/>
                <a:gd name="connsiteX15" fmla="*/ 504375 w 525245"/>
                <a:gd name="connsiteY15" fmla="*/ 223853 h 1144902"/>
                <a:gd name="connsiteX16" fmla="*/ 500546 w 525245"/>
                <a:gd name="connsiteY16" fmla="*/ 45719 h 1144902"/>
                <a:gd name="connsiteX17" fmla="*/ 525245 w 525245"/>
                <a:gd name="connsiteY17" fmla="*/ 45719 h 1144902"/>
                <a:gd name="connsiteX18" fmla="*/ 525245 w 525245"/>
                <a:gd name="connsiteY18" fmla="*/ 0 h 1144902"/>
                <a:gd name="connsiteX0" fmla="*/ 525245 w 525245"/>
                <a:gd name="connsiteY0" fmla="*/ 0 h 1144902"/>
                <a:gd name="connsiteX1" fmla="*/ 312606 w 525245"/>
                <a:gd name="connsiteY1" fmla="*/ 0 h 1144902"/>
                <a:gd name="connsiteX2" fmla="*/ 312606 w 525245"/>
                <a:gd name="connsiteY2" fmla="*/ 33054 h 1144902"/>
                <a:gd name="connsiteX3" fmla="*/ 198983 w 525245"/>
                <a:gd name="connsiteY3" fmla="*/ 33054 h 1144902"/>
                <a:gd name="connsiteX4" fmla="*/ 198983 w 525245"/>
                <a:gd name="connsiteY4" fmla="*/ 0 h 1144902"/>
                <a:gd name="connsiteX5" fmla="*/ 0 w 525245"/>
                <a:gd name="connsiteY5" fmla="*/ 0 h 1144902"/>
                <a:gd name="connsiteX6" fmla="*/ 0 w 525245"/>
                <a:gd name="connsiteY6" fmla="*/ 45719 h 1144902"/>
                <a:gd name="connsiteX7" fmla="*/ 20739 w 525245"/>
                <a:gd name="connsiteY7" fmla="*/ 45719 h 1144902"/>
                <a:gd name="connsiteX8" fmla="*/ 18408 w 525245"/>
                <a:gd name="connsiteY8" fmla="*/ 218246 h 1144902"/>
                <a:gd name="connsiteX9" fmla="*/ 73857 w 525245"/>
                <a:gd name="connsiteY9" fmla="*/ 1144902 h 1144902"/>
                <a:gd name="connsiteX10" fmla="*/ 223876 w 525245"/>
                <a:gd name="connsiteY10" fmla="*/ 1142521 h 1144902"/>
                <a:gd name="connsiteX11" fmla="*/ 263646 w 525245"/>
                <a:gd name="connsiteY11" fmla="*/ 218443 h 1144902"/>
                <a:gd name="connsiteX12" fmla="*/ 267345 w 525245"/>
                <a:gd name="connsiteY12" fmla="*/ 217759 h 1144902"/>
                <a:gd name="connsiteX13" fmla="*/ 302458 w 525245"/>
                <a:gd name="connsiteY13" fmla="*/ 1135377 h 1144902"/>
                <a:gd name="connsiteX14" fmla="*/ 454857 w 525245"/>
                <a:gd name="connsiteY14" fmla="*/ 1132996 h 1144902"/>
                <a:gd name="connsiteX15" fmla="*/ 504375 w 525245"/>
                <a:gd name="connsiteY15" fmla="*/ 207034 h 1144902"/>
                <a:gd name="connsiteX16" fmla="*/ 500546 w 525245"/>
                <a:gd name="connsiteY16" fmla="*/ 45719 h 1144902"/>
                <a:gd name="connsiteX17" fmla="*/ 525245 w 525245"/>
                <a:gd name="connsiteY17" fmla="*/ 45719 h 1144902"/>
                <a:gd name="connsiteX18" fmla="*/ 525245 w 525245"/>
                <a:gd name="connsiteY18" fmla="*/ 0 h 1144902"/>
                <a:gd name="connsiteX0" fmla="*/ 525245 w 525245"/>
                <a:gd name="connsiteY0" fmla="*/ 0 h 1144902"/>
                <a:gd name="connsiteX1" fmla="*/ 312606 w 525245"/>
                <a:gd name="connsiteY1" fmla="*/ 0 h 1144902"/>
                <a:gd name="connsiteX2" fmla="*/ 312606 w 525245"/>
                <a:gd name="connsiteY2" fmla="*/ 33054 h 1144902"/>
                <a:gd name="connsiteX3" fmla="*/ 198983 w 525245"/>
                <a:gd name="connsiteY3" fmla="*/ 33054 h 1144902"/>
                <a:gd name="connsiteX4" fmla="*/ 198983 w 525245"/>
                <a:gd name="connsiteY4" fmla="*/ 0 h 1144902"/>
                <a:gd name="connsiteX5" fmla="*/ 0 w 525245"/>
                <a:gd name="connsiteY5" fmla="*/ 0 h 1144902"/>
                <a:gd name="connsiteX6" fmla="*/ 0 w 525245"/>
                <a:gd name="connsiteY6" fmla="*/ 45719 h 1144902"/>
                <a:gd name="connsiteX7" fmla="*/ 20739 w 525245"/>
                <a:gd name="connsiteY7" fmla="*/ 45719 h 1144902"/>
                <a:gd name="connsiteX8" fmla="*/ 3455 w 525245"/>
                <a:gd name="connsiteY8" fmla="*/ 218246 h 1144902"/>
                <a:gd name="connsiteX9" fmla="*/ 73857 w 525245"/>
                <a:gd name="connsiteY9" fmla="*/ 1144902 h 1144902"/>
                <a:gd name="connsiteX10" fmla="*/ 223876 w 525245"/>
                <a:gd name="connsiteY10" fmla="*/ 1142521 h 1144902"/>
                <a:gd name="connsiteX11" fmla="*/ 263646 w 525245"/>
                <a:gd name="connsiteY11" fmla="*/ 218443 h 1144902"/>
                <a:gd name="connsiteX12" fmla="*/ 267345 w 525245"/>
                <a:gd name="connsiteY12" fmla="*/ 217759 h 1144902"/>
                <a:gd name="connsiteX13" fmla="*/ 302458 w 525245"/>
                <a:gd name="connsiteY13" fmla="*/ 1135377 h 1144902"/>
                <a:gd name="connsiteX14" fmla="*/ 454857 w 525245"/>
                <a:gd name="connsiteY14" fmla="*/ 1132996 h 1144902"/>
                <a:gd name="connsiteX15" fmla="*/ 504375 w 525245"/>
                <a:gd name="connsiteY15" fmla="*/ 207034 h 1144902"/>
                <a:gd name="connsiteX16" fmla="*/ 500546 w 525245"/>
                <a:gd name="connsiteY16" fmla="*/ 45719 h 1144902"/>
                <a:gd name="connsiteX17" fmla="*/ 525245 w 525245"/>
                <a:gd name="connsiteY17" fmla="*/ 45719 h 1144902"/>
                <a:gd name="connsiteX18" fmla="*/ 525245 w 525245"/>
                <a:gd name="connsiteY18" fmla="*/ 0 h 1144902"/>
                <a:gd name="connsiteX0" fmla="*/ 525245 w 525245"/>
                <a:gd name="connsiteY0" fmla="*/ 0 h 1144902"/>
                <a:gd name="connsiteX1" fmla="*/ 312606 w 525245"/>
                <a:gd name="connsiteY1" fmla="*/ 0 h 1144902"/>
                <a:gd name="connsiteX2" fmla="*/ 312606 w 525245"/>
                <a:gd name="connsiteY2" fmla="*/ 33054 h 1144902"/>
                <a:gd name="connsiteX3" fmla="*/ 198983 w 525245"/>
                <a:gd name="connsiteY3" fmla="*/ 33054 h 1144902"/>
                <a:gd name="connsiteX4" fmla="*/ 198983 w 525245"/>
                <a:gd name="connsiteY4" fmla="*/ 0 h 1144902"/>
                <a:gd name="connsiteX5" fmla="*/ 0 w 525245"/>
                <a:gd name="connsiteY5" fmla="*/ 0 h 1144902"/>
                <a:gd name="connsiteX6" fmla="*/ 0 w 525245"/>
                <a:gd name="connsiteY6" fmla="*/ 45719 h 1144902"/>
                <a:gd name="connsiteX7" fmla="*/ 20739 w 525245"/>
                <a:gd name="connsiteY7" fmla="*/ 45719 h 1144902"/>
                <a:gd name="connsiteX8" fmla="*/ 3455 w 525245"/>
                <a:gd name="connsiteY8" fmla="*/ 218246 h 1144902"/>
                <a:gd name="connsiteX9" fmla="*/ 73857 w 525245"/>
                <a:gd name="connsiteY9" fmla="*/ 1144902 h 1144902"/>
                <a:gd name="connsiteX10" fmla="*/ 223876 w 525245"/>
                <a:gd name="connsiteY10" fmla="*/ 1142521 h 1144902"/>
                <a:gd name="connsiteX11" fmla="*/ 263646 w 525245"/>
                <a:gd name="connsiteY11" fmla="*/ 218443 h 1144902"/>
                <a:gd name="connsiteX12" fmla="*/ 267345 w 525245"/>
                <a:gd name="connsiteY12" fmla="*/ 217759 h 1144902"/>
                <a:gd name="connsiteX13" fmla="*/ 302458 w 525245"/>
                <a:gd name="connsiteY13" fmla="*/ 1135377 h 1144902"/>
                <a:gd name="connsiteX14" fmla="*/ 454857 w 525245"/>
                <a:gd name="connsiteY14" fmla="*/ 1132996 h 1144902"/>
                <a:gd name="connsiteX15" fmla="*/ 519328 w 525245"/>
                <a:gd name="connsiteY15" fmla="*/ 207034 h 1144902"/>
                <a:gd name="connsiteX16" fmla="*/ 500546 w 525245"/>
                <a:gd name="connsiteY16" fmla="*/ 45719 h 1144902"/>
                <a:gd name="connsiteX17" fmla="*/ 525245 w 525245"/>
                <a:gd name="connsiteY17" fmla="*/ 45719 h 1144902"/>
                <a:gd name="connsiteX18" fmla="*/ 525245 w 525245"/>
                <a:gd name="connsiteY18" fmla="*/ 0 h 1144902"/>
                <a:gd name="connsiteX0" fmla="*/ 525245 w 678362"/>
                <a:gd name="connsiteY0" fmla="*/ 0 h 1144902"/>
                <a:gd name="connsiteX1" fmla="*/ 312606 w 678362"/>
                <a:gd name="connsiteY1" fmla="*/ 0 h 1144902"/>
                <a:gd name="connsiteX2" fmla="*/ 312606 w 678362"/>
                <a:gd name="connsiteY2" fmla="*/ 33054 h 1144902"/>
                <a:gd name="connsiteX3" fmla="*/ 198983 w 678362"/>
                <a:gd name="connsiteY3" fmla="*/ 33054 h 1144902"/>
                <a:gd name="connsiteX4" fmla="*/ 198983 w 678362"/>
                <a:gd name="connsiteY4" fmla="*/ 0 h 1144902"/>
                <a:gd name="connsiteX5" fmla="*/ 0 w 678362"/>
                <a:gd name="connsiteY5" fmla="*/ 0 h 1144902"/>
                <a:gd name="connsiteX6" fmla="*/ 0 w 678362"/>
                <a:gd name="connsiteY6" fmla="*/ 45719 h 1144902"/>
                <a:gd name="connsiteX7" fmla="*/ 20739 w 678362"/>
                <a:gd name="connsiteY7" fmla="*/ 45719 h 1144902"/>
                <a:gd name="connsiteX8" fmla="*/ 3455 w 678362"/>
                <a:gd name="connsiteY8" fmla="*/ 218246 h 1144902"/>
                <a:gd name="connsiteX9" fmla="*/ 73857 w 678362"/>
                <a:gd name="connsiteY9" fmla="*/ 1144902 h 1144902"/>
                <a:gd name="connsiteX10" fmla="*/ 223876 w 678362"/>
                <a:gd name="connsiteY10" fmla="*/ 1142521 h 1144902"/>
                <a:gd name="connsiteX11" fmla="*/ 263646 w 678362"/>
                <a:gd name="connsiteY11" fmla="*/ 218443 h 1144902"/>
                <a:gd name="connsiteX12" fmla="*/ 267345 w 678362"/>
                <a:gd name="connsiteY12" fmla="*/ 217759 h 1144902"/>
                <a:gd name="connsiteX13" fmla="*/ 302458 w 678362"/>
                <a:gd name="connsiteY13" fmla="*/ 1135377 h 1144902"/>
                <a:gd name="connsiteX14" fmla="*/ 454857 w 678362"/>
                <a:gd name="connsiteY14" fmla="*/ 1132996 h 1144902"/>
                <a:gd name="connsiteX15" fmla="*/ 519328 w 678362"/>
                <a:gd name="connsiteY15" fmla="*/ 207034 h 1144902"/>
                <a:gd name="connsiteX16" fmla="*/ 500546 w 678362"/>
                <a:gd name="connsiteY16" fmla="*/ 45719 h 1144902"/>
                <a:gd name="connsiteX17" fmla="*/ 678362 w 678362"/>
                <a:gd name="connsiteY17" fmla="*/ 60071 h 1144902"/>
                <a:gd name="connsiteX18" fmla="*/ 525245 w 678362"/>
                <a:gd name="connsiteY18" fmla="*/ 0 h 1144902"/>
                <a:gd name="connsiteX0" fmla="*/ 525245 w 678362"/>
                <a:gd name="connsiteY0" fmla="*/ 0 h 1144902"/>
                <a:gd name="connsiteX1" fmla="*/ 312606 w 678362"/>
                <a:gd name="connsiteY1" fmla="*/ 0 h 1144902"/>
                <a:gd name="connsiteX2" fmla="*/ 312606 w 678362"/>
                <a:gd name="connsiteY2" fmla="*/ 33054 h 1144902"/>
                <a:gd name="connsiteX3" fmla="*/ 198983 w 678362"/>
                <a:gd name="connsiteY3" fmla="*/ 33054 h 1144902"/>
                <a:gd name="connsiteX4" fmla="*/ 198983 w 678362"/>
                <a:gd name="connsiteY4" fmla="*/ 0 h 1144902"/>
                <a:gd name="connsiteX5" fmla="*/ 0 w 678362"/>
                <a:gd name="connsiteY5" fmla="*/ 0 h 1144902"/>
                <a:gd name="connsiteX6" fmla="*/ 0 w 678362"/>
                <a:gd name="connsiteY6" fmla="*/ 45719 h 1144902"/>
                <a:gd name="connsiteX7" fmla="*/ 20739 w 678362"/>
                <a:gd name="connsiteY7" fmla="*/ 45719 h 1144902"/>
                <a:gd name="connsiteX8" fmla="*/ 3455 w 678362"/>
                <a:gd name="connsiteY8" fmla="*/ 218246 h 1144902"/>
                <a:gd name="connsiteX9" fmla="*/ 73857 w 678362"/>
                <a:gd name="connsiteY9" fmla="*/ 1144902 h 1144902"/>
                <a:gd name="connsiteX10" fmla="*/ 223876 w 678362"/>
                <a:gd name="connsiteY10" fmla="*/ 1142521 h 1144902"/>
                <a:gd name="connsiteX11" fmla="*/ 263646 w 678362"/>
                <a:gd name="connsiteY11" fmla="*/ 218443 h 1144902"/>
                <a:gd name="connsiteX12" fmla="*/ 267345 w 678362"/>
                <a:gd name="connsiteY12" fmla="*/ 217759 h 1144902"/>
                <a:gd name="connsiteX13" fmla="*/ 302458 w 678362"/>
                <a:gd name="connsiteY13" fmla="*/ 1135377 h 1144902"/>
                <a:gd name="connsiteX14" fmla="*/ 454857 w 678362"/>
                <a:gd name="connsiteY14" fmla="*/ 1132996 h 1144902"/>
                <a:gd name="connsiteX15" fmla="*/ 519328 w 678362"/>
                <a:gd name="connsiteY15" fmla="*/ 207034 h 1144902"/>
                <a:gd name="connsiteX16" fmla="*/ 538826 w 678362"/>
                <a:gd name="connsiteY16" fmla="*/ 63658 h 1144902"/>
                <a:gd name="connsiteX17" fmla="*/ 678362 w 678362"/>
                <a:gd name="connsiteY17" fmla="*/ 60071 h 1144902"/>
                <a:gd name="connsiteX18" fmla="*/ 525245 w 678362"/>
                <a:gd name="connsiteY18" fmla="*/ 0 h 1144902"/>
                <a:gd name="connsiteX0" fmla="*/ 525245 w 563524"/>
                <a:gd name="connsiteY0" fmla="*/ 0 h 1144902"/>
                <a:gd name="connsiteX1" fmla="*/ 312606 w 563524"/>
                <a:gd name="connsiteY1" fmla="*/ 0 h 1144902"/>
                <a:gd name="connsiteX2" fmla="*/ 312606 w 563524"/>
                <a:gd name="connsiteY2" fmla="*/ 33054 h 1144902"/>
                <a:gd name="connsiteX3" fmla="*/ 198983 w 563524"/>
                <a:gd name="connsiteY3" fmla="*/ 33054 h 1144902"/>
                <a:gd name="connsiteX4" fmla="*/ 198983 w 563524"/>
                <a:gd name="connsiteY4" fmla="*/ 0 h 1144902"/>
                <a:gd name="connsiteX5" fmla="*/ 0 w 563524"/>
                <a:gd name="connsiteY5" fmla="*/ 0 h 1144902"/>
                <a:gd name="connsiteX6" fmla="*/ 0 w 563524"/>
                <a:gd name="connsiteY6" fmla="*/ 45719 h 1144902"/>
                <a:gd name="connsiteX7" fmla="*/ 20739 w 563524"/>
                <a:gd name="connsiteY7" fmla="*/ 45719 h 1144902"/>
                <a:gd name="connsiteX8" fmla="*/ 3455 w 563524"/>
                <a:gd name="connsiteY8" fmla="*/ 218246 h 1144902"/>
                <a:gd name="connsiteX9" fmla="*/ 73857 w 563524"/>
                <a:gd name="connsiteY9" fmla="*/ 1144902 h 1144902"/>
                <a:gd name="connsiteX10" fmla="*/ 223876 w 563524"/>
                <a:gd name="connsiteY10" fmla="*/ 1142521 h 1144902"/>
                <a:gd name="connsiteX11" fmla="*/ 263646 w 563524"/>
                <a:gd name="connsiteY11" fmla="*/ 218443 h 1144902"/>
                <a:gd name="connsiteX12" fmla="*/ 267345 w 563524"/>
                <a:gd name="connsiteY12" fmla="*/ 217759 h 1144902"/>
                <a:gd name="connsiteX13" fmla="*/ 302458 w 563524"/>
                <a:gd name="connsiteY13" fmla="*/ 1135377 h 1144902"/>
                <a:gd name="connsiteX14" fmla="*/ 454857 w 563524"/>
                <a:gd name="connsiteY14" fmla="*/ 1132996 h 1144902"/>
                <a:gd name="connsiteX15" fmla="*/ 519328 w 563524"/>
                <a:gd name="connsiteY15" fmla="*/ 207034 h 1144902"/>
                <a:gd name="connsiteX16" fmla="*/ 538826 w 563524"/>
                <a:gd name="connsiteY16" fmla="*/ 63658 h 1144902"/>
                <a:gd name="connsiteX17" fmla="*/ 563524 w 563524"/>
                <a:gd name="connsiteY17" fmla="*/ 42131 h 1144902"/>
                <a:gd name="connsiteX18" fmla="*/ 525245 w 563524"/>
                <a:gd name="connsiteY18" fmla="*/ 0 h 1144902"/>
                <a:gd name="connsiteX0" fmla="*/ 525245 w 544384"/>
                <a:gd name="connsiteY0" fmla="*/ 0 h 1144902"/>
                <a:gd name="connsiteX1" fmla="*/ 312606 w 544384"/>
                <a:gd name="connsiteY1" fmla="*/ 0 h 1144902"/>
                <a:gd name="connsiteX2" fmla="*/ 312606 w 544384"/>
                <a:gd name="connsiteY2" fmla="*/ 33054 h 1144902"/>
                <a:gd name="connsiteX3" fmla="*/ 198983 w 544384"/>
                <a:gd name="connsiteY3" fmla="*/ 33054 h 1144902"/>
                <a:gd name="connsiteX4" fmla="*/ 198983 w 544384"/>
                <a:gd name="connsiteY4" fmla="*/ 0 h 1144902"/>
                <a:gd name="connsiteX5" fmla="*/ 0 w 544384"/>
                <a:gd name="connsiteY5" fmla="*/ 0 h 1144902"/>
                <a:gd name="connsiteX6" fmla="*/ 0 w 544384"/>
                <a:gd name="connsiteY6" fmla="*/ 45719 h 1144902"/>
                <a:gd name="connsiteX7" fmla="*/ 20739 w 544384"/>
                <a:gd name="connsiteY7" fmla="*/ 45719 h 1144902"/>
                <a:gd name="connsiteX8" fmla="*/ 3455 w 544384"/>
                <a:gd name="connsiteY8" fmla="*/ 218246 h 1144902"/>
                <a:gd name="connsiteX9" fmla="*/ 73857 w 544384"/>
                <a:gd name="connsiteY9" fmla="*/ 1144902 h 1144902"/>
                <a:gd name="connsiteX10" fmla="*/ 223876 w 544384"/>
                <a:gd name="connsiteY10" fmla="*/ 1142521 h 1144902"/>
                <a:gd name="connsiteX11" fmla="*/ 263646 w 544384"/>
                <a:gd name="connsiteY11" fmla="*/ 218443 h 1144902"/>
                <a:gd name="connsiteX12" fmla="*/ 267345 w 544384"/>
                <a:gd name="connsiteY12" fmla="*/ 217759 h 1144902"/>
                <a:gd name="connsiteX13" fmla="*/ 302458 w 544384"/>
                <a:gd name="connsiteY13" fmla="*/ 1135377 h 1144902"/>
                <a:gd name="connsiteX14" fmla="*/ 454857 w 544384"/>
                <a:gd name="connsiteY14" fmla="*/ 1132996 h 1144902"/>
                <a:gd name="connsiteX15" fmla="*/ 519328 w 544384"/>
                <a:gd name="connsiteY15" fmla="*/ 207034 h 1144902"/>
                <a:gd name="connsiteX16" fmla="*/ 538826 w 544384"/>
                <a:gd name="connsiteY16" fmla="*/ 63658 h 1144902"/>
                <a:gd name="connsiteX17" fmla="*/ 544384 w 544384"/>
                <a:gd name="connsiteY17" fmla="*/ 42131 h 1144902"/>
                <a:gd name="connsiteX18" fmla="*/ 525245 w 544384"/>
                <a:gd name="connsiteY18" fmla="*/ 0 h 1144902"/>
                <a:gd name="connsiteX0" fmla="*/ 525245 w 544384"/>
                <a:gd name="connsiteY0" fmla="*/ 0 h 1144902"/>
                <a:gd name="connsiteX1" fmla="*/ 312606 w 544384"/>
                <a:gd name="connsiteY1" fmla="*/ 0 h 1144902"/>
                <a:gd name="connsiteX2" fmla="*/ 312606 w 544384"/>
                <a:gd name="connsiteY2" fmla="*/ 33054 h 1144902"/>
                <a:gd name="connsiteX3" fmla="*/ 198983 w 544384"/>
                <a:gd name="connsiteY3" fmla="*/ 33054 h 1144902"/>
                <a:gd name="connsiteX4" fmla="*/ 198983 w 544384"/>
                <a:gd name="connsiteY4" fmla="*/ 0 h 1144902"/>
                <a:gd name="connsiteX5" fmla="*/ 0 w 544384"/>
                <a:gd name="connsiteY5" fmla="*/ 0 h 1144902"/>
                <a:gd name="connsiteX6" fmla="*/ 0 w 544384"/>
                <a:gd name="connsiteY6" fmla="*/ 45719 h 1144902"/>
                <a:gd name="connsiteX7" fmla="*/ 20739 w 544384"/>
                <a:gd name="connsiteY7" fmla="*/ 45719 h 1144902"/>
                <a:gd name="connsiteX8" fmla="*/ 3455 w 544384"/>
                <a:gd name="connsiteY8" fmla="*/ 218246 h 1144902"/>
                <a:gd name="connsiteX9" fmla="*/ 73857 w 544384"/>
                <a:gd name="connsiteY9" fmla="*/ 1144902 h 1144902"/>
                <a:gd name="connsiteX10" fmla="*/ 223876 w 544384"/>
                <a:gd name="connsiteY10" fmla="*/ 1142521 h 1144902"/>
                <a:gd name="connsiteX11" fmla="*/ 263646 w 544384"/>
                <a:gd name="connsiteY11" fmla="*/ 218443 h 1144902"/>
                <a:gd name="connsiteX12" fmla="*/ 267345 w 544384"/>
                <a:gd name="connsiteY12" fmla="*/ 217759 h 1144902"/>
                <a:gd name="connsiteX13" fmla="*/ 302458 w 544384"/>
                <a:gd name="connsiteY13" fmla="*/ 1135377 h 1144902"/>
                <a:gd name="connsiteX14" fmla="*/ 454857 w 544384"/>
                <a:gd name="connsiteY14" fmla="*/ 1132996 h 1144902"/>
                <a:gd name="connsiteX15" fmla="*/ 519328 w 544384"/>
                <a:gd name="connsiteY15" fmla="*/ 207034 h 1144902"/>
                <a:gd name="connsiteX16" fmla="*/ 538827 w 544384"/>
                <a:gd name="connsiteY16" fmla="*/ 95950 h 1144902"/>
                <a:gd name="connsiteX17" fmla="*/ 544384 w 544384"/>
                <a:gd name="connsiteY17" fmla="*/ 42131 h 1144902"/>
                <a:gd name="connsiteX18" fmla="*/ 525245 w 544384"/>
                <a:gd name="connsiteY18" fmla="*/ 0 h 1144902"/>
                <a:gd name="connsiteX0" fmla="*/ 525245 w 544384"/>
                <a:gd name="connsiteY0" fmla="*/ 0 h 1144902"/>
                <a:gd name="connsiteX1" fmla="*/ 312606 w 544384"/>
                <a:gd name="connsiteY1" fmla="*/ 0 h 1144902"/>
                <a:gd name="connsiteX2" fmla="*/ 312606 w 544384"/>
                <a:gd name="connsiteY2" fmla="*/ 33054 h 1144902"/>
                <a:gd name="connsiteX3" fmla="*/ 198983 w 544384"/>
                <a:gd name="connsiteY3" fmla="*/ 33054 h 1144902"/>
                <a:gd name="connsiteX4" fmla="*/ 198983 w 544384"/>
                <a:gd name="connsiteY4" fmla="*/ 0 h 1144902"/>
                <a:gd name="connsiteX5" fmla="*/ 0 w 544384"/>
                <a:gd name="connsiteY5" fmla="*/ 0 h 1144902"/>
                <a:gd name="connsiteX6" fmla="*/ 0 w 544384"/>
                <a:gd name="connsiteY6" fmla="*/ 45719 h 1144902"/>
                <a:gd name="connsiteX7" fmla="*/ 20739 w 544384"/>
                <a:gd name="connsiteY7" fmla="*/ 45719 h 1144902"/>
                <a:gd name="connsiteX8" fmla="*/ 3455 w 544384"/>
                <a:gd name="connsiteY8" fmla="*/ 218246 h 1144902"/>
                <a:gd name="connsiteX9" fmla="*/ 73857 w 544384"/>
                <a:gd name="connsiteY9" fmla="*/ 1144902 h 1144902"/>
                <a:gd name="connsiteX10" fmla="*/ 223876 w 544384"/>
                <a:gd name="connsiteY10" fmla="*/ 1142521 h 1144902"/>
                <a:gd name="connsiteX11" fmla="*/ 263646 w 544384"/>
                <a:gd name="connsiteY11" fmla="*/ 218443 h 1144902"/>
                <a:gd name="connsiteX12" fmla="*/ 267345 w 544384"/>
                <a:gd name="connsiteY12" fmla="*/ 217759 h 1144902"/>
                <a:gd name="connsiteX13" fmla="*/ 302458 w 544384"/>
                <a:gd name="connsiteY13" fmla="*/ 1135377 h 1144902"/>
                <a:gd name="connsiteX14" fmla="*/ 454857 w 544384"/>
                <a:gd name="connsiteY14" fmla="*/ 1132996 h 1144902"/>
                <a:gd name="connsiteX15" fmla="*/ 533682 w 544384"/>
                <a:gd name="connsiteY15" fmla="*/ 224973 h 1144902"/>
                <a:gd name="connsiteX16" fmla="*/ 538827 w 544384"/>
                <a:gd name="connsiteY16" fmla="*/ 95950 h 1144902"/>
                <a:gd name="connsiteX17" fmla="*/ 544384 w 544384"/>
                <a:gd name="connsiteY17" fmla="*/ 42131 h 1144902"/>
                <a:gd name="connsiteX18" fmla="*/ 525245 w 544384"/>
                <a:gd name="connsiteY18" fmla="*/ 0 h 1144902"/>
                <a:gd name="connsiteX0" fmla="*/ 525245 w 548464"/>
                <a:gd name="connsiteY0" fmla="*/ 0 h 1144902"/>
                <a:gd name="connsiteX1" fmla="*/ 312606 w 548464"/>
                <a:gd name="connsiteY1" fmla="*/ 0 h 1144902"/>
                <a:gd name="connsiteX2" fmla="*/ 312606 w 548464"/>
                <a:gd name="connsiteY2" fmla="*/ 33054 h 1144902"/>
                <a:gd name="connsiteX3" fmla="*/ 198983 w 548464"/>
                <a:gd name="connsiteY3" fmla="*/ 33054 h 1144902"/>
                <a:gd name="connsiteX4" fmla="*/ 198983 w 548464"/>
                <a:gd name="connsiteY4" fmla="*/ 0 h 1144902"/>
                <a:gd name="connsiteX5" fmla="*/ 0 w 548464"/>
                <a:gd name="connsiteY5" fmla="*/ 0 h 1144902"/>
                <a:gd name="connsiteX6" fmla="*/ 0 w 548464"/>
                <a:gd name="connsiteY6" fmla="*/ 45719 h 1144902"/>
                <a:gd name="connsiteX7" fmla="*/ 20739 w 548464"/>
                <a:gd name="connsiteY7" fmla="*/ 45719 h 1144902"/>
                <a:gd name="connsiteX8" fmla="*/ 3455 w 548464"/>
                <a:gd name="connsiteY8" fmla="*/ 218246 h 1144902"/>
                <a:gd name="connsiteX9" fmla="*/ 73857 w 548464"/>
                <a:gd name="connsiteY9" fmla="*/ 1144902 h 1144902"/>
                <a:gd name="connsiteX10" fmla="*/ 223876 w 548464"/>
                <a:gd name="connsiteY10" fmla="*/ 1142521 h 1144902"/>
                <a:gd name="connsiteX11" fmla="*/ 263646 w 548464"/>
                <a:gd name="connsiteY11" fmla="*/ 218443 h 1144902"/>
                <a:gd name="connsiteX12" fmla="*/ 267345 w 548464"/>
                <a:gd name="connsiteY12" fmla="*/ 217759 h 1144902"/>
                <a:gd name="connsiteX13" fmla="*/ 302458 w 548464"/>
                <a:gd name="connsiteY13" fmla="*/ 1135377 h 1144902"/>
                <a:gd name="connsiteX14" fmla="*/ 454857 w 548464"/>
                <a:gd name="connsiteY14" fmla="*/ 1132996 h 1144902"/>
                <a:gd name="connsiteX15" fmla="*/ 533682 w 548464"/>
                <a:gd name="connsiteY15" fmla="*/ 224973 h 1144902"/>
                <a:gd name="connsiteX16" fmla="*/ 548397 w 548464"/>
                <a:gd name="connsiteY16" fmla="*/ 106713 h 1144902"/>
                <a:gd name="connsiteX17" fmla="*/ 544384 w 548464"/>
                <a:gd name="connsiteY17" fmla="*/ 42131 h 1144902"/>
                <a:gd name="connsiteX18" fmla="*/ 525245 w 548464"/>
                <a:gd name="connsiteY18" fmla="*/ 0 h 1144902"/>
                <a:gd name="connsiteX0" fmla="*/ 533215 w 556434"/>
                <a:gd name="connsiteY0" fmla="*/ 0 h 1144902"/>
                <a:gd name="connsiteX1" fmla="*/ 320576 w 556434"/>
                <a:gd name="connsiteY1" fmla="*/ 0 h 1144902"/>
                <a:gd name="connsiteX2" fmla="*/ 320576 w 556434"/>
                <a:gd name="connsiteY2" fmla="*/ 33054 h 1144902"/>
                <a:gd name="connsiteX3" fmla="*/ 206953 w 556434"/>
                <a:gd name="connsiteY3" fmla="*/ 33054 h 1144902"/>
                <a:gd name="connsiteX4" fmla="*/ 206953 w 556434"/>
                <a:gd name="connsiteY4" fmla="*/ 0 h 1144902"/>
                <a:gd name="connsiteX5" fmla="*/ 7970 w 556434"/>
                <a:gd name="connsiteY5" fmla="*/ 0 h 1144902"/>
                <a:gd name="connsiteX6" fmla="*/ 7970 w 556434"/>
                <a:gd name="connsiteY6" fmla="*/ 45719 h 1144902"/>
                <a:gd name="connsiteX7" fmla="*/ 0 w 556434"/>
                <a:gd name="connsiteY7" fmla="*/ 81598 h 1144902"/>
                <a:gd name="connsiteX8" fmla="*/ 11425 w 556434"/>
                <a:gd name="connsiteY8" fmla="*/ 218246 h 1144902"/>
                <a:gd name="connsiteX9" fmla="*/ 81827 w 556434"/>
                <a:gd name="connsiteY9" fmla="*/ 1144902 h 1144902"/>
                <a:gd name="connsiteX10" fmla="*/ 231846 w 556434"/>
                <a:gd name="connsiteY10" fmla="*/ 1142521 h 1144902"/>
                <a:gd name="connsiteX11" fmla="*/ 271616 w 556434"/>
                <a:gd name="connsiteY11" fmla="*/ 218443 h 1144902"/>
                <a:gd name="connsiteX12" fmla="*/ 275315 w 556434"/>
                <a:gd name="connsiteY12" fmla="*/ 217759 h 1144902"/>
                <a:gd name="connsiteX13" fmla="*/ 310428 w 556434"/>
                <a:gd name="connsiteY13" fmla="*/ 1135377 h 1144902"/>
                <a:gd name="connsiteX14" fmla="*/ 462827 w 556434"/>
                <a:gd name="connsiteY14" fmla="*/ 1132996 h 1144902"/>
                <a:gd name="connsiteX15" fmla="*/ 541652 w 556434"/>
                <a:gd name="connsiteY15" fmla="*/ 224973 h 1144902"/>
                <a:gd name="connsiteX16" fmla="*/ 556367 w 556434"/>
                <a:gd name="connsiteY16" fmla="*/ 106713 h 1144902"/>
                <a:gd name="connsiteX17" fmla="*/ 552354 w 556434"/>
                <a:gd name="connsiteY17" fmla="*/ 42131 h 1144902"/>
                <a:gd name="connsiteX18" fmla="*/ 533215 w 556434"/>
                <a:gd name="connsiteY18" fmla="*/ 0 h 1144902"/>
                <a:gd name="connsiteX0" fmla="*/ 536144 w 559363"/>
                <a:gd name="connsiteY0" fmla="*/ 0 h 1144902"/>
                <a:gd name="connsiteX1" fmla="*/ 323505 w 559363"/>
                <a:gd name="connsiteY1" fmla="*/ 0 h 1144902"/>
                <a:gd name="connsiteX2" fmla="*/ 323505 w 559363"/>
                <a:gd name="connsiteY2" fmla="*/ 33054 h 1144902"/>
                <a:gd name="connsiteX3" fmla="*/ 209882 w 559363"/>
                <a:gd name="connsiteY3" fmla="*/ 33054 h 1144902"/>
                <a:gd name="connsiteX4" fmla="*/ 209882 w 559363"/>
                <a:gd name="connsiteY4" fmla="*/ 0 h 1144902"/>
                <a:gd name="connsiteX5" fmla="*/ 10899 w 559363"/>
                <a:gd name="connsiteY5" fmla="*/ 0 h 1144902"/>
                <a:gd name="connsiteX6" fmla="*/ 10899 w 559363"/>
                <a:gd name="connsiteY6" fmla="*/ 45719 h 1144902"/>
                <a:gd name="connsiteX7" fmla="*/ 2929 w 559363"/>
                <a:gd name="connsiteY7" fmla="*/ 81598 h 1144902"/>
                <a:gd name="connsiteX8" fmla="*/ 0 w 559363"/>
                <a:gd name="connsiteY8" fmla="*/ 229010 h 1144902"/>
                <a:gd name="connsiteX9" fmla="*/ 84756 w 559363"/>
                <a:gd name="connsiteY9" fmla="*/ 1144902 h 1144902"/>
                <a:gd name="connsiteX10" fmla="*/ 234775 w 559363"/>
                <a:gd name="connsiteY10" fmla="*/ 1142521 h 1144902"/>
                <a:gd name="connsiteX11" fmla="*/ 274545 w 559363"/>
                <a:gd name="connsiteY11" fmla="*/ 218443 h 1144902"/>
                <a:gd name="connsiteX12" fmla="*/ 278244 w 559363"/>
                <a:gd name="connsiteY12" fmla="*/ 217759 h 1144902"/>
                <a:gd name="connsiteX13" fmla="*/ 313357 w 559363"/>
                <a:gd name="connsiteY13" fmla="*/ 1135377 h 1144902"/>
                <a:gd name="connsiteX14" fmla="*/ 465756 w 559363"/>
                <a:gd name="connsiteY14" fmla="*/ 1132996 h 1144902"/>
                <a:gd name="connsiteX15" fmla="*/ 544581 w 559363"/>
                <a:gd name="connsiteY15" fmla="*/ 224973 h 1144902"/>
                <a:gd name="connsiteX16" fmla="*/ 559296 w 559363"/>
                <a:gd name="connsiteY16" fmla="*/ 106713 h 1144902"/>
                <a:gd name="connsiteX17" fmla="*/ 555283 w 559363"/>
                <a:gd name="connsiteY17" fmla="*/ 42131 h 1144902"/>
                <a:gd name="connsiteX18" fmla="*/ 536144 w 559363"/>
                <a:gd name="connsiteY18" fmla="*/ 0 h 1144902"/>
                <a:gd name="connsiteX0" fmla="*/ 536144 w 568506"/>
                <a:gd name="connsiteY0" fmla="*/ 0 h 1144902"/>
                <a:gd name="connsiteX1" fmla="*/ 323505 w 568506"/>
                <a:gd name="connsiteY1" fmla="*/ 0 h 1144902"/>
                <a:gd name="connsiteX2" fmla="*/ 323505 w 568506"/>
                <a:gd name="connsiteY2" fmla="*/ 33054 h 1144902"/>
                <a:gd name="connsiteX3" fmla="*/ 209882 w 568506"/>
                <a:gd name="connsiteY3" fmla="*/ 33054 h 1144902"/>
                <a:gd name="connsiteX4" fmla="*/ 209882 w 568506"/>
                <a:gd name="connsiteY4" fmla="*/ 0 h 1144902"/>
                <a:gd name="connsiteX5" fmla="*/ 10899 w 568506"/>
                <a:gd name="connsiteY5" fmla="*/ 0 h 1144902"/>
                <a:gd name="connsiteX6" fmla="*/ 10899 w 568506"/>
                <a:gd name="connsiteY6" fmla="*/ 45719 h 1144902"/>
                <a:gd name="connsiteX7" fmla="*/ 2929 w 568506"/>
                <a:gd name="connsiteY7" fmla="*/ 81598 h 1144902"/>
                <a:gd name="connsiteX8" fmla="*/ 0 w 568506"/>
                <a:gd name="connsiteY8" fmla="*/ 229010 h 1144902"/>
                <a:gd name="connsiteX9" fmla="*/ 84756 w 568506"/>
                <a:gd name="connsiteY9" fmla="*/ 1144902 h 1144902"/>
                <a:gd name="connsiteX10" fmla="*/ 234775 w 568506"/>
                <a:gd name="connsiteY10" fmla="*/ 1142521 h 1144902"/>
                <a:gd name="connsiteX11" fmla="*/ 274545 w 568506"/>
                <a:gd name="connsiteY11" fmla="*/ 218443 h 1144902"/>
                <a:gd name="connsiteX12" fmla="*/ 278244 w 568506"/>
                <a:gd name="connsiteY12" fmla="*/ 217759 h 1144902"/>
                <a:gd name="connsiteX13" fmla="*/ 313357 w 568506"/>
                <a:gd name="connsiteY13" fmla="*/ 1135377 h 1144902"/>
                <a:gd name="connsiteX14" fmla="*/ 465756 w 568506"/>
                <a:gd name="connsiteY14" fmla="*/ 1132996 h 1144902"/>
                <a:gd name="connsiteX15" fmla="*/ 568506 w 568506"/>
                <a:gd name="connsiteY15" fmla="*/ 232149 h 1144902"/>
                <a:gd name="connsiteX16" fmla="*/ 559296 w 568506"/>
                <a:gd name="connsiteY16" fmla="*/ 106713 h 1144902"/>
                <a:gd name="connsiteX17" fmla="*/ 555283 w 568506"/>
                <a:gd name="connsiteY17" fmla="*/ 42131 h 1144902"/>
                <a:gd name="connsiteX18" fmla="*/ 536144 w 568506"/>
                <a:gd name="connsiteY18" fmla="*/ 0 h 1144902"/>
                <a:gd name="connsiteX0" fmla="*/ 552390 w 584752"/>
                <a:gd name="connsiteY0" fmla="*/ 0 h 1144902"/>
                <a:gd name="connsiteX1" fmla="*/ 339751 w 584752"/>
                <a:gd name="connsiteY1" fmla="*/ 0 h 1144902"/>
                <a:gd name="connsiteX2" fmla="*/ 339751 w 584752"/>
                <a:gd name="connsiteY2" fmla="*/ 33054 h 1144902"/>
                <a:gd name="connsiteX3" fmla="*/ 226128 w 584752"/>
                <a:gd name="connsiteY3" fmla="*/ 33054 h 1144902"/>
                <a:gd name="connsiteX4" fmla="*/ 226128 w 584752"/>
                <a:gd name="connsiteY4" fmla="*/ 0 h 1144902"/>
                <a:gd name="connsiteX5" fmla="*/ 27145 w 584752"/>
                <a:gd name="connsiteY5" fmla="*/ 0 h 1144902"/>
                <a:gd name="connsiteX6" fmla="*/ 27145 w 584752"/>
                <a:gd name="connsiteY6" fmla="*/ 45719 h 1144902"/>
                <a:gd name="connsiteX7" fmla="*/ 36 w 584752"/>
                <a:gd name="connsiteY7" fmla="*/ 99538 h 1144902"/>
                <a:gd name="connsiteX8" fmla="*/ 16246 w 584752"/>
                <a:gd name="connsiteY8" fmla="*/ 229010 h 1144902"/>
                <a:gd name="connsiteX9" fmla="*/ 101002 w 584752"/>
                <a:gd name="connsiteY9" fmla="*/ 1144902 h 1144902"/>
                <a:gd name="connsiteX10" fmla="*/ 251021 w 584752"/>
                <a:gd name="connsiteY10" fmla="*/ 1142521 h 1144902"/>
                <a:gd name="connsiteX11" fmla="*/ 290791 w 584752"/>
                <a:gd name="connsiteY11" fmla="*/ 218443 h 1144902"/>
                <a:gd name="connsiteX12" fmla="*/ 294490 w 584752"/>
                <a:gd name="connsiteY12" fmla="*/ 217759 h 1144902"/>
                <a:gd name="connsiteX13" fmla="*/ 329603 w 584752"/>
                <a:gd name="connsiteY13" fmla="*/ 1135377 h 1144902"/>
                <a:gd name="connsiteX14" fmla="*/ 482002 w 584752"/>
                <a:gd name="connsiteY14" fmla="*/ 1132996 h 1144902"/>
                <a:gd name="connsiteX15" fmla="*/ 584752 w 584752"/>
                <a:gd name="connsiteY15" fmla="*/ 232149 h 1144902"/>
                <a:gd name="connsiteX16" fmla="*/ 575542 w 584752"/>
                <a:gd name="connsiteY16" fmla="*/ 106713 h 1144902"/>
                <a:gd name="connsiteX17" fmla="*/ 571529 w 584752"/>
                <a:gd name="connsiteY17" fmla="*/ 42131 h 1144902"/>
                <a:gd name="connsiteX18" fmla="*/ 552390 w 584752"/>
                <a:gd name="connsiteY18" fmla="*/ 0 h 1144902"/>
                <a:gd name="connsiteX0" fmla="*/ 552392 w 584754"/>
                <a:gd name="connsiteY0" fmla="*/ 0 h 1144902"/>
                <a:gd name="connsiteX1" fmla="*/ 339753 w 584754"/>
                <a:gd name="connsiteY1" fmla="*/ 0 h 1144902"/>
                <a:gd name="connsiteX2" fmla="*/ 339753 w 584754"/>
                <a:gd name="connsiteY2" fmla="*/ 33054 h 1144902"/>
                <a:gd name="connsiteX3" fmla="*/ 226130 w 584754"/>
                <a:gd name="connsiteY3" fmla="*/ 33054 h 1144902"/>
                <a:gd name="connsiteX4" fmla="*/ 226130 w 584754"/>
                <a:gd name="connsiteY4" fmla="*/ 0 h 1144902"/>
                <a:gd name="connsiteX5" fmla="*/ 27147 w 584754"/>
                <a:gd name="connsiteY5" fmla="*/ 0 h 1144902"/>
                <a:gd name="connsiteX6" fmla="*/ 8007 w 584754"/>
                <a:gd name="connsiteY6" fmla="*/ 42131 h 1144902"/>
                <a:gd name="connsiteX7" fmla="*/ 38 w 584754"/>
                <a:gd name="connsiteY7" fmla="*/ 99538 h 1144902"/>
                <a:gd name="connsiteX8" fmla="*/ 16248 w 584754"/>
                <a:gd name="connsiteY8" fmla="*/ 229010 h 1144902"/>
                <a:gd name="connsiteX9" fmla="*/ 101004 w 584754"/>
                <a:gd name="connsiteY9" fmla="*/ 1144902 h 1144902"/>
                <a:gd name="connsiteX10" fmla="*/ 251023 w 584754"/>
                <a:gd name="connsiteY10" fmla="*/ 1142521 h 1144902"/>
                <a:gd name="connsiteX11" fmla="*/ 290793 w 584754"/>
                <a:gd name="connsiteY11" fmla="*/ 218443 h 1144902"/>
                <a:gd name="connsiteX12" fmla="*/ 294492 w 584754"/>
                <a:gd name="connsiteY12" fmla="*/ 217759 h 1144902"/>
                <a:gd name="connsiteX13" fmla="*/ 329605 w 584754"/>
                <a:gd name="connsiteY13" fmla="*/ 1135377 h 1144902"/>
                <a:gd name="connsiteX14" fmla="*/ 482004 w 584754"/>
                <a:gd name="connsiteY14" fmla="*/ 1132996 h 1144902"/>
                <a:gd name="connsiteX15" fmla="*/ 584754 w 584754"/>
                <a:gd name="connsiteY15" fmla="*/ 232149 h 1144902"/>
                <a:gd name="connsiteX16" fmla="*/ 575544 w 584754"/>
                <a:gd name="connsiteY16" fmla="*/ 106713 h 1144902"/>
                <a:gd name="connsiteX17" fmla="*/ 571531 w 584754"/>
                <a:gd name="connsiteY17" fmla="*/ 42131 h 1144902"/>
                <a:gd name="connsiteX18" fmla="*/ 552392 w 584754"/>
                <a:gd name="connsiteY18" fmla="*/ 0 h 1144902"/>
                <a:gd name="connsiteX0" fmla="*/ 560069 w 592431"/>
                <a:gd name="connsiteY0" fmla="*/ 0 h 1144902"/>
                <a:gd name="connsiteX1" fmla="*/ 347430 w 592431"/>
                <a:gd name="connsiteY1" fmla="*/ 0 h 1144902"/>
                <a:gd name="connsiteX2" fmla="*/ 347430 w 592431"/>
                <a:gd name="connsiteY2" fmla="*/ 33054 h 1144902"/>
                <a:gd name="connsiteX3" fmla="*/ 233807 w 592431"/>
                <a:gd name="connsiteY3" fmla="*/ 33054 h 1144902"/>
                <a:gd name="connsiteX4" fmla="*/ 233807 w 592431"/>
                <a:gd name="connsiteY4" fmla="*/ 0 h 1144902"/>
                <a:gd name="connsiteX5" fmla="*/ 34824 w 592431"/>
                <a:gd name="connsiteY5" fmla="*/ 0 h 1144902"/>
                <a:gd name="connsiteX6" fmla="*/ 15684 w 592431"/>
                <a:gd name="connsiteY6" fmla="*/ 42131 h 1144902"/>
                <a:gd name="connsiteX7" fmla="*/ 7715 w 592431"/>
                <a:gd name="connsiteY7" fmla="*/ 99538 h 1144902"/>
                <a:gd name="connsiteX8" fmla="*/ 0 w 592431"/>
                <a:gd name="connsiteY8" fmla="*/ 239774 h 1144902"/>
                <a:gd name="connsiteX9" fmla="*/ 108681 w 592431"/>
                <a:gd name="connsiteY9" fmla="*/ 1144902 h 1144902"/>
                <a:gd name="connsiteX10" fmla="*/ 258700 w 592431"/>
                <a:gd name="connsiteY10" fmla="*/ 1142521 h 1144902"/>
                <a:gd name="connsiteX11" fmla="*/ 298470 w 592431"/>
                <a:gd name="connsiteY11" fmla="*/ 218443 h 1144902"/>
                <a:gd name="connsiteX12" fmla="*/ 302169 w 592431"/>
                <a:gd name="connsiteY12" fmla="*/ 217759 h 1144902"/>
                <a:gd name="connsiteX13" fmla="*/ 337282 w 592431"/>
                <a:gd name="connsiteY13" fmla="*/ 1135377 h 1144902"/>
                <a:gd name="connsiteX14" fmla="*/ 489681 w 592431"/>
                <a:gd name="connsiteY14" fmla="*/ 1132996 h 1144902"/>
                <a:gd name="connsiteX15" fmla="*/ 592431 w 592431"/>
                <a:gd name="connsiteY15" fmla="*/ 232149 h 1144902"/>
                <a:gd name="connsiteX16" fmla="*/ 583221 w 592431"/>
                <a:gd name="connsiteY16" fmla="*/ 106713 h 1144902"/>
                <a:gd name="connsiteX17" fmla="*/ 579208 w 592431"/>
                <a:gd name="connsiteY17" fmla="*/ 42131 h 1144902"/>
                <a:gd name="connsiteX18" fmla="*/ 560069 w 592431"/>
                <a:gd name="connsiteY18" fmla="*/ 0 h 1144902"/>
                <a:gd name="connsiteX0" fmla="*/ 560069 w 592431"/>
                <a:gd name="connsiteY0" fmla="*/ 0 h 1144902"/>
                <a:gd name="connsiteX1" fmla="*/ 347430 w 592431"/>
                <a:gd name="connsiteY1" fmla="*/ 0 h 1144902"/>
                <a:gd name="connsiteX2" fmla="*/ 347430 w 592431"/>
                <a:gd name="connsiteY2" fmla="*/ 33054 h 1144902"/>
                <a:gd name="connsiteX3" fmla="*/ 233807 w 592431"/>
                <a:gd name="connsiteY3" fmla="*/ 33054 h 1144902"/>
                <a:gd name="connsiteX4" fmla="*/ 233807 w 592431"/>
                <a:gd name="connsiteY4" fmla="*/ 0 h 1144902"/>
                <a:gd name="connsiteX5" fmla="*/ 34824 w 592431"/>
                <a:gd name="connsiteY5" fmla="*/ 0 h 1144902"/>
                <a:gd name="connsiteX6" fmla="*/ 15684 w 592431"/>
                <a:gd name="connsiteY6" fmla="*/ 42131 h 1144902"/>
                <a:gd name="connsiteX7" fmla="*/ 7715 w 592431"/>
                <a:gd name="connsiteY7" fmla="*/ 99538 h 1144902"/>
                <a:gd name="connsiteX8" fmla="*/ 0 w 592431"/>
                <a:gd name="connsiteY8" fmla="*/ 239774 h 1144902"/>
                <a:gd name="connsiteX9" fmla="*/ 108681 w 592431"/>
                <a:gd name="connsiteY9" fmla="*/ 1144902 h 1144902"/>
                <a:gd name="connsiteX10" fmla="*/ 258700 w 592431"/>
                <a:gd name="connsiteY10" fmla="*/ 1142521 h 1144902"/>
                <a:gd name="connsiteX11" fmla="*/ 298470 w 592431"/>
                <a:gd name="connsiteY11" fmla="*/ 218443 h 1144902"/>
                <a:gd name="connsiteX12" fmla="*/ 302169 w 592431"/>
                <a:gd name="connsiteY12" fmla="*/ 217759 h 1144902"/>
                <a:gd name="connsiteX13" fmla="*/ 318142 w 592431"/>
                <a:gd name="connsiteY13" fmla="*/ 1138965 h 1144902"/>
                <a:gd name="connsiteX14" fmla="*/ 489681 w 592431"/>
                <a:gd name="connsiteY14" fmla="*/ 1132996 h 1144902"/>
                <a:gd name="connsiteX15" fmla="*/ 592431 w 592431"/>
                <a:gd name="connsiteY15" fmla="*/ 232149 h 1144902"/>
                <a:gd name="connsiteX16" fmla="*/ 583221 w 592431"/>
                <a:gd name="connsiteY16" fmla="*/ 106713 h 1144902"/>
                <a:gd name="connsiteX17" fmla="*/ 579208 w 592431"/>
                <a:gd name="connsiteY17" fmla="*/ 42131 h 1144902"/>
                <a:gd name="connsiteX18" fmla="*/ 560069 w 592431"/>
                <a:gd name="connsiteY18" fmla="*/ 0 h 1144902"/>
                <a:gd name="connsiteX0" fmla="*/ 560069 w 592431"/>
                <a:gd name="connsiteY0" fmla="*/ 0 h 1144902"/>
                <a:gd name="connsiteX1" fmla="*/ 347430 w 592431"/>
                <a:gd name="connsiteY1" fmla="*/ 0 h 1144902"/>
                <a:gd name="connsiteX2" fmla="*/ 347430 w 592431"/>
                <a:gd name="connsiteY2" fmla="*/ 33054 h 1144902"/>
                <a:gd name="connsiteX3" fmla="*/ 233807 w 592431"/>
                <a:gd name="connsiteY3" fmla="*/ 33054 h 1144902"/>
                <a:gd name="connsiteX4" fmla="*/ 233807 w 592431"/>
                <a:gd name="connsiteY4" fmla="*/ 0 h 1144902"/>
                <a:gd name="connsiteX5" fmla="*/ 34824 w 592431"/>
                <a:gd name="connsiteY5" fmla="*/ 0 h 1144902"/>
                <a:gd name="connsiteX6" fmla="*/ 15684 w 592431"/>
                <a:gd name="connsiteY6" fmla="*/ 42131 h 1144902"/>
                <a:gd name="connsiteX7" fmla="*/ 7715 w 592431"/>
                <a:gd name="connsiteY7" fmla="*/ 99538 h 1144902"/>
                <a:gd name="connsiteX8" fmla="*/ 0 w 592431"/>
                <a:gd name="connsiteY8" fmla="*/ 239774 h 1144902"/>
                <a:gd name="connsiteX9" fmla="*/ 108681 w 592431"/>
                <a:gd name="connsiteY9" fmla="*/ 1144902 h 1144902"/>
                <a:gd name="connsiteX10" fmla="*/ 268271 w 592431"/>
                <a:gd name="connsiteY10" fmla="*/ 1135345 h 1144902"/>
                <a:gd name="connsiteX11" fmla="*/ 298470 w 592431"/>
                <a:gd name="connsiteY11" fmla="*/ 218443 h 1144902"/>
                <a:gd name="connsiteX12" fmla="*/ 302169 w 592431"/>
                <a:gd name="connsiteY12" fmla="*/ 217759 h 1144902"/>
                <a:gd name="connsiteX13" fmla="*/ 318142 w 592431"/>
                <a:gd name="connsiteY13" fmla="*/ 1138965 h 1144902"/>
                <a:gd name="connsiteX14" fmla="*/ 489681 w 592431"/>
                <a:gd name="connsiteY14" fmla="*/ 1132996 h 1144902"/>
                <a:gd name="connsiteX15" fmla="*/ 592431 w 592431"/>
                <a:gd name="connsiteY15" fmla="*/ 232149 h 1144902"/>
                <a:gd name="connsiteX16" fmla="*/ 583221 w 592431"/>
                <a:gd name="connsiteY16" fmla="*/ 106713 h 1144902"/>
                <a:gd name="connsiteX17" fmla="*/ 579208 w 592431"/>
                <a:gd name="connsiteY17" fmla="*/ 42131 h 1144902"/>
                <a:gd name="connsiteX18" fmla="*/ 560069 w 592431"/>
                <a:gd name="connsiteY18" fmla="*/ 0 h 1144902"/>
                <a:gd name="connsiteX0" fmla="*/ 577842 w 610204"/>
                <a:gd name="connsiteY0" fmla="*/ 0 h 1144902"/>
                <a:gd name="connsiteX1" fmla="*/ 365203 w 610204"/>
                <a:gd name="connsiteY1" fmla="*/ 0 h 1144902"/>
                <a:gd name="connsiteX2" fmla="*/ 365203 w 610204"/>
                <a:gd name="connsiteY2" fmla="*/ 33054 h 1144902"/>
                <a:gd name="connsiteX3" fmla="*/ 251580 w 610204"/>
                <a:gd name="connsiteY3" fmla="*/ 33054 h 1144902"/>
                <a:gd name="connsiteX4" fmla="*/ 251580 w 610204"/>
                <a:gd name="connsiteY4" fmla="*/ 0 h 1144902"/>
                <a:gd name="connsiteX5" fmla="*/ 52597 w 610204"/>
                <a:gd name="connsiteY5" fmla="*/ 0 h 1144902"/>
                <a:gd name="connsiteX6" fmla="*/ 33457 w 610204"/>
                <a:gd name="connsiteY6" fmla="*/ 42131 h 1144902"/>
                <a:gd name="connsiteX7" fmla="*/ 25488 w 610204"/>
                <a:gd name="connsiteY7" fmla="*/ 99538 h 1144902"/>
                <a:gd name="connsiteX8" fmla="*/ 0 w 610204"/>
                <a:gd name="connsiteY8" fmla="*/ 239774 h 1144902"/>
                <a:gd name="connsiteX9" fmla="*/ 126454 w 610204"/>
                <a:gd name="connsiteY9" fmla="*/ 1144902 h 1144902"/>
                <a:gd name="connsiteX10" fmla="*/ 286044 w 610204"/>
                <a:gd name="connsiteY10" fmla="*/ 1135345 h 1144902"/>
                <a:gd name="connsiteX11" fmla="*/ 316243 w 610204"/>
                <a:gd name="connsiteY11" fmla="*/ 218443 h 1144902"/>
                <a:gd name="connsiteX12" fmla="*/ 319942 w 610204"/>
                <a:gd name="connsiteY12" fmla="*/ 217759 h 1144902"/>
                <a:gd name="connsiteX13" fmla="*/ 335915 w 610204"/>
                <a:gd name="connsiteY13" fmla="*/ 1138965 h 1144902"/>
                <a:gd name="connsiteX14" fmla="*/ 507454 w 610204"/>
                <a:gd name="connsiteY14" fmla="*/ 1132996 h 1144902"/>
                <a:gd name="connsiteX15" fmla="*/ 610204 w 610204"/>
                <a:gd name="connsiteY15" fmla="*/ 232149 h 1144902"/>
                <a:gd name="connsiteX16" fmla="*/ 600994 w 610204"/>
                <a:gd name="connsiteY16" fmla="*/ 106713 h 1144902"/>
                <a:gd name="connsiteX17" fmla="*/ 596981 w 610204"/>
                <a:gd name="connsiteY17" fmla="*/ 42131 h 1144902"/>
                <a:gd name="connsiteX18" fmla="*/ 577842 w 610204"/>
                <a:gd name="connsiteY18" fmla="*/ 0 h 1144902"/>
                <a:gd name="connsiteX0" fmla="*/ 577842 w 627978"/>
                <a:gd name="connsiteY0" fmla="*/ 0 h 1144902"/>
                <a:gd name="connsiteX1" fmla="*/ 365203 w 627978"/>
                <a:gd name="connsiteY1" fmla="*/ 0 h 1144902"/>
                <a:gd name="connsiteX2" fmla="*/ 365203 w 627978"/>
                <a:gd name="connsiteY2" fmla="*/ 33054 h 1144902"/>
                <a:gd name="connsiteX3" fmla="*/ 251580 w 627978"/>
                <a:gd name="connsiteY3" fmla="*/ 33054 h 1144902"/>
                <a:gd name="connsiteX4" fmla="*/ 251580 w 627978"/>
                <a:gd name="connsiteY4" fmla="*/ 0 h 1144902"/>
                <a:gd name="connsiteX5" fmla="*/ 52597 w 627978"/>
                <a:gd name="connsiteY5" fmla="*/ 0 h 1144902"/>
                <a:gd name="connsiteX6" fmla="*/ 33457 w 627978"/>
                <a:gd name="connsiteY6" fmla="*/ 42131 h 1144902"/>
                <a:gd name="connsiteX7" fmla="*/ 25488 w 627978"/>
                <a:gd name="connsiteY7" fmla="*/ 99538 h 1144902"/>
                <a:gd name="connsiteX8" fmla="*/ 0 w 627978"/>
                <a:gd name="connsiteY8" fmla="*/ 239774 h 1144902"/>
                <a:gd name="connsiteX9" fmla="*/ 126454 w 627978"/>
                <a:gd name="connsiteY9" fmla="*/ 1144902 h 1144902"/>
                <a:gd name="connsiteX10" fmla="*/ 286044 w 627978"/>
                <a:gd name="connsiteY10" fmla="*/ 1135345 h 1144902"/>
                <a:gd name="connsiteX11" fmla="*/ 316243 w 627978"/>
                <a:gd name="connsiteY11" fmla="*/ 218443 h 1144902"/>
                <a:gd name="connsiteX12" fmla="*/ 319942 w 627978"/>
                <a:gd name="connsiteY12" fmla="*/ 217759 h 1144902"/>
                <a:gd name="connsiteX13" fmla="*/ 335915 w 627978"/>
                <a:gd name="connsiteY13" fmla="*/ 1138965 h 1144902"/>
                <a:gd name="connsiteX14" fmla="*/ 507454 w 627978"/>
                <a:gd name="connsiteY14" fmla="*/ 1132996 h 1144902"/>
                <a:gd name="connsiteX15" fmla="*/ 627978 w 627978"/>
                <a:gd name="connsiteY15" fmla="*/ 232149 h 1144902"/>
                <a:gd name="connsiteX16" fmla="*/ 600994 w 627978"/>
                <a:gd name="connsiteY16" fmla="*/ 106713 h 1144902"/>
                <a:gd name="connsiteX17" fmla="*/ 596981 w 627978"/>
                <a:gd name="connsiteY17" fmla="*/ 42131 h 1144902"/>
                <a:gd name="connsiteX18" fmla="*/ 577842 w 627978"/>
                <a:gd name="connsiteY18" fmla="*/ 0 h 1144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27978" h="1144902">
                  <a:moveTo>
                    <a:pt x="577842" y="0"/>
                  </a:moveTo>
                  <a:lnTo>
                    <a:pt x="365203" y="0"/>
                  </a:lnTo>
                  <a:lnTo>
                    <a:pt x="365203" y="33054"/>
                  </a:lnTo>
                  <a:lnTo>
                    <a:pt x="251580" y="33054"/>
                  </a:lnTo>
                  <a:lnTo>
                    <a:pt x="251580" y="0"/>
                  </a:lnTo>
                  <a:lnTo>
                    <a:pt x="52597" y="0"/>
                  </a:lnTo>
                  <a:lnTo>
                    <a:pt x="33457" y="42131"/>
                  </a:lnTo>
                  <a:lnTo>
                    <a:pt x="25488" y="99538"/>
                  </a:lnTo>
                  <a:cubicBezTo>
                    <a:pt x="24512" y="148675"/>
                    <a:pt x="976" y="190637"/>
                    <a:pt x="0" y="239774"/>
                  </a:cubicBezTo>
                  <a:cubicBezTo>
                    <a:pt x="36227" y="541483"/>
                    <a:pt x="90227" y="843193"/>
                    <a:pt x="126454" y="1144902"/>
                  </a:cubicBezTo>
                  <a:cubicBezTo>
                    <a:pt x="178841" y="1144902"/>
                    <a:pt x="233657" y="1135345"/>
                    <a:pt x="286044" y="1135345"/>
                  </a:cubicBezTo>
                  <a:lnTo>
                    <a:pt x="316243" y="218443"/>
                  </a:lnTo>
                  <a:lnTo>
                    <a:pt x="319942" y="217759"/>
                  </a:lnTo>
                  <a:lnTo>
                    <a:pt x="335915" y="1138965"/>
                  </a:lnTo>
                  <a:lnTo>
                    <a:pt x="507454" y="1132996"/>
                  </a:lnTo>
                  <a:lnTo>
                    <a:pt x="627978" y="232149"/>
                  </a:lnTo>
                  <a:cubicBezTo>
                    <a:pt x="626702" y="172771"/>
                    <a:pt x="602270" y="166091"/>
                    <a:pt x="600994" y="106713"/>
                  </a:cubicBezTo>
                  <a:lnTo>
                    <a:pt x="596981" y="42131"/>
                  </a:lnTo>
                  <a:lnTo>
                    <a:pt x="577842" y="0"/>
                  </a:lnTo>
                  <a:close/>
                </a:path>
              </a:pathLst>
            </a:custGeom>
            <a:solidFill>
              <a:srgbClr val="C00000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 smtClean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42" name="Group 41"/>
            <p:cNvGrpSpPr/>
            <p:nvPr/>
          </p:nvGrpSpPr>
          <p:grpSpPr>
            <a:xfrm>
              <a:off x="9926109" y="4414894"/>
              <a:ext cx="185129" cy="125702"/>
              <a:chOff x="8907336" y="3981032"/>
              <a:chExt cx="339329" cy="111506"/>
            </a:xfrm>
          </p:grpSpPr>
          <p:sp>
            <p:nvSpPr>
              <p:cNvPr id="50" name="Freeform 49"/>
              <p:cNvSpPr/>
              <p:nvPr/>
            </p:nvSpPr>
            <p:spPr bwMode="auto">
              <a:xfrm>
                <a:off x="8907336" y="3981032"/>
                <a:ext cx="120854" cy="111506"/>
              </a:xfrm>
              <a:custGeom>
                <a:avLst/>
                <a:gdLst>
                  <a:gd name="connsiteX0" fmla="*/ 41275 w 123825"/>
                  <a:gd name="connsiteY0" fmla="*/ 0 h 127000"/>
                  <a:gd name="connsiteX1" fmla="*/ 0 w 123825"/>
                  <a:gd name="connsiteY1" fmla="*/ 34925 h 127000"/>
                  <a:gd name="connsiteX2" fmla="*/ 104775 w 123825"/>
                  <a:gd name="connsiteY2" fmla="*/ 127000 h 127000"/>
                  <a:gd name="connsiteX3" fmla="*/ 123825 w 123825"/>
                  <a:gd name="connsiteY3" fmla="*/ 15875 h 127000"/>
                  <a:gd name="connsiteX4" fmla="*/ 41275 w 123825"/>
                  <a:gd name="connsiteY4" fmla="*/ 0 h 127000"/>
                  <a:gd name="connsiteX0" fmla="*/ 57150 w 139700"/>
                  <a:gd name="connsiteY0" fmla="*/ 0 h 127000"/>
                  <a:gd name="connsiteX1" fmla="*/ 0 w 139700"/>
                  <a:gd name="connsiteY1" fmla="*/ 34925 h 127000"/>
                  <a:gd name="connsiteX2" fmla="*/ 120650 w 139700"/>
                  <a:gd name="connsiteY2" fmla="*/ 127000 h 127000"/>
                  <a:gd name="connsiteX3" fmla="*/ 139700 w 139700"/>
                  <a:gd name="connsiteY3" fmla="*/ 15875 h 127000"/>
                  <a:gd name="connsiteX4" fmla="*/ 57150 w 139700"/>
                  <a:gd name="connsiteY4" fmla="*/ 0 h 127000"/>
                  <a:gd name="connsiteX0" fmla="*/ 57150 w 139700"/>
                  <a:gd name="connsiteY0" fmla="*/ 0 h 127000"/>
                  <a:gd name="connsiteX1" fmla="*/ 0 w 139700"/>
                  <a:gd name="connsiteY1" fmla="*/ 34925 h 127000"/>
                  <a:gd name="connsiteX2" fmla="*/ 120650 w 139700"/>
                  <a:gd name="connsiteY2" fmla="*/ 127000 h 127000"/>
                  <a:gd name="connsiteX3" fmla="*/ 139700 w 139700"/>
                  <a:gd name="connsiteY3" fmla="*/ 15875 h 127000"/>
                  <a:gd name="connsiteX4" fmla="*/ 57150 w 139700"/>
                  <a:gd name="connsiteY4" fmla="*/ 0 h 127000"/>
                  <a:gd name="connsiteX0" fmla="*/ 59779 w 142329"/>
                  <a:gd name="connsiteY0" fmla="*/ 0 h 127000"/>
                  <a:gd name="connsiteX1" fmla="*/ 2629 w 142329"/>
                  <a:gd name="connsiteY1" fmla="*/ 34925 h 127000"/>
                  <a:gd name="connsiteX2" fmla="*/ 123279 w 142329"/>
                  <a:gd name="connsiteY2" fmla="*/ 127000 h 127000"/>
                  <a:gd name="connsiteX3" fmla="*/ 142329 w 142329"/>
                  <a:gd name="connsiteY3" fmla="*/ 15875 h 127000"/>
                  <a:gd name="connsiteX4" fmla="*/ 59779 w 142329"/>
                  <a:gd name="connsiteY4" fmla="*/ 0 h 127000"/>
                  <a:gd name="connsiteX0" fmla="*/ 59712 w 142262"/>
                  <a:gd name="connsiteY0" fmla="*/ 0 h 131258"/>
                  <a:gd name="connsiteX1" fmla="*/ 2562 w 142262"/>
                  <a:gd name="connsiteY1" fmla="*/ 34925 h 131258"/>
                  <a:gd name="connsiteX2" fmla="*/ 123212 w 142262"/>
                  <a:gd name="connsiteY2" fmla="*/ 127000 h 131258"/>
                  <a:gd name="connsiteX3" fmla="*/ 142262 w 142262"/>
                  <a:gd name="connsiteY3" fmla="*/ 15875 h 131258"/>
                  <a:gd name="connsiteX4" fmla="*/ 59712 w 142262"/>
                  <a:gd name="connsiteY4" fmla="*/ 0 h 131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2262" h="131258">
                    <a:moveTo>
                      <a:pt x="59712" y="0"/>
                    </a:moveTo>
                    <a:cubicBezTo>
                      <a:pt x="78762" y="94192"/>
                      <a:pt x="21612" y="23283"/>
                      <a:pt x="2562" y="34925"/>
                    </a:cubicBezTo>
                    <a:cubicBezTo>
                      <a:pt x="-17546" y="144992"/>
                      <a:pt x="86170" y="134408"/>
                      <a:pt x="123212" y="127000"/>
                    </a:cubicBezTo>
                    <a:lnTo>
                      <a:pt x="142262" y="15875"/>
                    </a:lnTo>
                    <a:lnTo>
                      <a:pt x="59712" y="0"/>
                    </a:lnTo>
                    <a:close/>
                  </a:path>
                </a:pathLst>
              </a:custGeom>
              <a:solidFill>
                <a:srgbClr val="3F3F3F">
                  <a:lumMod val="95000"/>
                  <a:lumOff val="5000"/>
                </a:srgbClr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 smtClean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1" name="Freeform 50"/>
              <p:cNvSpPr/>
              <p:nvPr/>
            </p:nvSpPr>
            <p:spPr bwMode="auto">
              <a:xfrm flipH="1">
                <a:off x="9125811" y="3981032"/>
                <a:ext cx="120854" cy="111506"/>
              </a:xfrm>
              <a:custGeom>
                <a:avLst/>
                <a:gdLst>
                  <a:gd name="connsiteX0" fmla="*/ 41275 w 123825"/>
                  <a:gd name="connsiteY0" fmla="*/ 0 h 127000"/>
                  <a:gd name="connsiteX1" fmla="*/ 0 w 123825"/>
                  <a:gd name="connsiteY1" fmla="*/ 34925 h 127000"/>
                  <a:gd name="connsiteX2" fmla="*/ 104775 w 123825"/>
                  <a:gd name="connsiteY2" fmla="*/ 127000 h 127000"/>
                  <a:gd name="connsiteX3" fmla="*/ 123825 w 123825"/>
                  <a:gd name="connsiteY3" fmla="*/ 15875 h 127000"/>
                  <a:gd name="connsiteX4" fmla="*/ 41275 w 123825"/>
                  <a:gd name="connsiteY4" fmla="*/ 0 h 127000"/>
                  <a:gd name="connsiteX0" fmla="*/ 57150 w 139700"/>
                  <a:gd name="connsiteY0" fmla="*/ 0 h 127000"/>
                  <a:gd name="connsiteX1" fmla="*/ 0 w 139700"/>
                  <a:gd name="connsiteY1" fmla="*/ 34925 h 127000"/>
                  <a:gd name="connsiteX2" fmla="*/ 120650 w 139700"/>
                  <a:gd name="connsiteY2" fmla="*/ 127000 h 127000"/>
                  <a:gd name="connsiteX3" fmla="*/ 139700 w 139700"/>
                  <a:gd name="connsiteY3" fmla="*/ 15875 h 127000"/>
                  <a:gd name="connsiteX4" fmla="*/ 57150 w 139700"/>
                  <a:gd name="connsiteY4" fmla="*/ 0 h 127000"/>
                  <a:gd name="connsiteX0" fmla="*/ 57150 w 139700"/>
                  <a:gd name="connsiteY0" fmla="*/ 0 h 127000"/>
                  <a:gd name="connsiteX1" fmla="*/ 0 w 139700"/>
                  <a:gd name="connsiteY1" fmla="*/ 34925 h 127000"/>
                  <a:gd name="connsiteX2" fmla="*/ 120650 w 139700"/>
                  <a:gd name="connsiteY2" fmla="*/ 127000 h 127000"/>
                  <a:gd name="connsiteX3" fmla="*/ 139700 w 139700"/>
                  <a:gd name="connsiteY3" fmla="*/ 15875 h 127000"/>
                  <a:gd name="connsiteX4" fmla="*/ 57150 w 139700"/>
                  <a:gd name="connsiteY4" fmla="*/ 0 h 127000"/>
                  <a:gd name="connsiteX0" fmla="*/ 59779 w 142329"/>
                  <a:gd name="connsiteY0" fmla="*/ 0 h 127000"/>
                  <a:gd name="connsiteX1" fmla="*/ 2629 w 142329"/>
                  <a:gd name="connsiteY1" fmla="*/ 34925 h 127000"/>
                  <a:gd name="connsiteX2" fmla="*/ 123279 w 142329"/>
                  <a:gd name="connsiteY2" fmla="*/ 127000 h 127000"/>
                  <a:gd name="connsiteX3" fmla="*/ 142329 w 142329"/>
                  <a:gd name="connsiteY3" fmla="*/ 15875 h 127000"/>
                  <a:gd name="connsiteX4" fmla="*/ 59779 w 142329"/>
                  <a:gd name="connsiteY4" fmla="*/ 0 h 127000"/>
                  <a:gd name="connsiteX0" fmla="*/ 59712 w 142262"/>
                  <a:gd name="connsiteY0" fmla="*/ 0 h 131258"/>
                  <a:gd name="connsiteX1" fmla="*/ 2562 w 142262"/>
                  <a:gd name="connsiteY1" fmla="*/ 34925 h 131258"/>
                  <a:gd name="connsiteX2" fmla="*/ 123212 w 142262"/>
                  <a:gd name="connsiteY2" fmla="*/ 127000 h 131258"/>
                  <a:gd name="connsiteX3" fmla="*/ 142262 w 142262"/>
                  <a:gd name="connsiteY3" fmla="*/ 15875 h 131258"/>
                  <a:gd name="connsiteX4" fmla="*/ 59712 w 142262"/>
                  <a:gd name="connsiteY4" fmla="*/ 0 h 131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2262" h="131258">
                    <a:moveTo>
                      <a:pt x="59712" y="0"/>
                    </a:moveTo>
                    <a:cubicBezTo>
                      <a:pt x="78762" y="94192"/>
                      <a:pt x="21612" y="23283"/>
                      <a:pt x="2562" y="34925"/>
                    </a:cubicBezTo>
                    <a:cubicBezTo>
                      <a:pt x="-17546" y="144992"/>
                      <a:pt x="86170" y="134408"/>
                      <a:pt x="123212" y="127000"/>
                    </a:cubicBezTo>
                    <a:lnTo>
                      <a:pt x="142262" y="15875"/>
                    </a:lnTo>
                    <a:lnTo>
                      <a:pt x="59712" y="0"/>
                    </a:lnTo>
                    <a:close/>
                  </a:path>
                </a:pathLst>
              </a:custGeom>
              <a:solidFill>
                <a:srgbClr val="3F3F3F">
                  <a:lumMod val="95000"/>
                  <a:lumOff val="5000"/>
                </a:srgbClr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 smtClean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43" name="Rounded Rectangle 42"/>
            <p:cNvSpPr/>
            <p:nvPr/>
          </p:nvSpPr>
          <p:spPr bwMode="auto">
            <a:xfrm>
              <a:off x="9763917" y="5107151"/>
              <a:ext cx="47364" cy="86486"/>
            </a:xfrm>
            <a:prstGeom prst="roundRect">
              <a:avLst>
                <a:gd name="adj" fmla="val 50000"/>
              </a:avLst>
            </a:prstGeom>
            <a:solidFill>
              <a:srgbClr val="FFC000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 smtClean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44" name="Group 43"/>
            <p:cNvGrpSpPr/>
            <p:nvPr/>
          </p:nvGrpSpPr>
          <p:grpSpPr>
            <a:xfrm>
              <a:off x="9917315" y="5979459"/>
              <a:ext cx="188578" cy="84933"/>
              <a:chOff x="8947799" y="5725197"/>
              <a:chExt cx="257734" cy="58573"/>
            </a:xfrm>
          </p:grpSpPr>
          <p:sp>
            <p:nvSpPr>
              <p:cNvPr id="48" name="Freeform 47"/>
              <p:cNvSpPr/>
              <p:nvPr/>
            </p:nvSpPr>
            <p:spPr bwMode="auto">
              <a:xfrm>
                <a:off x="8947799" y="5725197"/>
                <a:ext cx="118153" cy="58573"/>
              </a:xfrm>
              <a:custGeom>
                <a:avLst/>
                <a:gdLst>
                  <a:gd name="connsiteX0" fmla="*/ 93857 w 187714"/>
                  <a:gd name="connsiteY0" fmla="*/ 0 h 93056"/>
                  <a:gd name="connsiteX1" fmla="*/ 180525 w 187714"/>
                  <a:gd name="connsiteY1" fmla="*/ 57448 h 93056"/>
                  <a:gd name="connsiteX2" fmla="*/ 187714 w 187714"/>
                  <a:gd name="connsiteY2" fmla="*/ 93056 h 93056"/>
                  <a:gd name="connsiteX3" fmla="*/ 0 w 187714"/>
                  <a:gd name="connsiteY3" fmla="*/ 93056 h 93056"/>
                  <a:gd name="connsiteX4" fmla="*/ 7189 w 187714"/>
                  <a:gd name="connsiteY4" fmla="*/ 57448 h 93056"/>
                  <a:gd name="connsiteX5" fmla="*/ 93857 w 187714"/>
                  <a:gd name="connsiteY5" fmla="*/ 0 h 93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7714" h="93056">
                    <a:moveTo>
                      <a:pt x="93857" y="0"/>
                    </a:moveTo>
                    <a:cubicBezTo>
                      <a:pt x="132818" y="0"/>
                      <a:pt x="166246" y="23688"/>
                      <a:pt x="180525" y="57448"/>
                    </a:cubicBezTo>
                    <a:lnTo>
                      <a:pt x="187714" y="93056"/>
                    </a:lnTo>
                    <a:lnTo>
                      <a:pt x="0" y="93056"/>
                    </a:lnTo>
                    <a:lnTo>
                      <a:pt x="7189" y="57448"/>
                    </a:lnTo>
                    <a:cubicBezTo>
                      <a:pt x="21468" y="23688"/>
                      <a:pt x="54896" y="0"/>
                      <a:pt x="93857" y="0"/>
                    </a:cubicBezTo>
                    <a:close/>
                  </a:path>
                </a:pathLst>
              </a:custGeom>
              <a:solidFill>
                <a:srgbClr val="663300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" name="Freeform 48"/>
              <p:cNvSpPr/>
              <p:nvPr/>
            </p:nvSpPr>
            <p:spPr bwMode="auto">
              <a:xfrm>
                <a:off x="9087380" y="5725197"/>
                <a:ext cx="118153" cy="58573"/>
              </a:xfrm>
              <a:custGeom>
                <a:avLst/>
                <a:gdLst>
                  <a:gd name="connsiteX0" fmla="*/ 93857 w 187714"/>
                  <a:gd name="connsiteY0" fmla="*/ 0 h 93056"/>
                  <a:gd name="connsiteX1" fmla="*/ 180525 w 187714"/>
                  <a:gd name="connsiteY1" fmla="*/ 57448 h 93056"/>
                  <a:gd name="connsiteX2" fmla="*/ 187714 w 187714"/>
                  <a:gd name="connsiteY2" fmla="*/ 93056 h 93056"/>
                  <a:gd name="connsiteX3" fmla="*/ 0 w 187714"/>
                  <a:gd name="connsiteY3" fmla="*/ 93056 h 93056"/>
                  <a:gd name="connsiteX4" fmla="*/ 7189 w 187714"/>
                  <a:gd name="connsiteY4" fmla="*/ 57448 h 93056"/>
                  <a:gd name="connsiteX5" fmla="*/ 93857 w 187714"/>
                  <a:gd name="connsiteY5" fmla="*/ 0 h 93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7714" h="93056">
                    <a:moveTo>
                      <a:pt x="93857" y="0"/>
                    </a:moveTo>
                    <a:cubicBezTo>
                      <a:pt x="132818" y="0"/>
                      <a:pt x="166246" y="23688"/>
                      <a:pt x="180525" y="57448"/>
                    </a:cubicBezTo>
                    <a:lnTo>
                      <a:pt x="187714" y="93056"/>
                    </a:lnTo>
                    <a:lnTo>
                      <a:pt x="0" y="93056"/>
                    </a:lnTo>
                    <a:lnTo>
                      <a:pt x="7189" y="57448"/>
                    </a:lnTo>
                    <a:cubicBezTo>
                      <a:pt x="21468" y="23688"/>
                      <a:pt x="54896" y="0"/>
                      <a:pt x="93857" y="0"/>
                    </a:cubicBezTo>
                    <a:close/>
                  </a:path>
                </a:pathLst>
              </a:custGeom>
              <a:solidFill>
                <a:srgbClr val="663300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sp>
          <p:nvSpPr>
            <p:cNvPr id="45" name="Freeform 44"/>
            <p:cNvSpPr/>
            <p:nvPr/>
          </p:nvSpPr>
          <p:spPr bwMode="auto">
            <a:xfrm rot="5400000">
              <a:off x="9708774" y="4556804"/>
              <a:ext cx="619863" cy="192415"/>
            </a:xfrm>
            <a:custGeom>
              <a:avLst/>
              <a:gdLst>
                <a:gd name="connsiteX0" fmla="*/ 0 w 392904"/>
                <a:gd name="connsiteY0" fmla="*/ 184191 h 309562"/>
                <a:gd name="connsiteX1" fmla="*/ 0 w 392904"/>
                <a:gd name="connsiteY1" fmla="*/ 125371 h 309562"/>
                <a:gd name="connsiteX2" fmla="*/ 95323 w 392904"/>
                <a:gd name="connsiteY2" fmla="*/ 30048 h 309562"/>
                <a:gd name="connsiteX3" fmla="*/ 107911 w 392904"/>
                <a:gd name="connsiteY3" fmla="*/ 30048 h 309562"/>
                <a:gd name="connsiteX4" fmla="*/ 116458 w 392904"/>
                <a:gd name="connsiteY4" fmla="*/ 9416 h 309562"/>
                <a:gd name="connsiteX5" fmla="*/ 139189 w 392904"/>
                <a:gd name="connsiteY5" fmla="*/ 0 h 309562"/>
                <a:gd name="connsiteX6" fmla="*/ 182279 w 392904"/>
                <a:gd name="connsiteY6" fmla="*/ 0 h 309562"/>
                <a:gd name="connsiteX7" fmla="*/ 205010 w 392904"/>
                <a:gd name="connsiteY7" fmla="*/ 9416 h 309562"/>
                <a:gd name="connsiteX8" fmla="*/ 213557 w 392904"/>
                <a:gd name="connsiteY8" fmla="*/ 30048 h 309562"/>
                <a:gd name="connsiteX9" fmla="*/ 252339 w 392904"/>
                <a:gd name="connsiteY9" fmla="*/ 30048 h 309562"/>
                <a:gd name="connsiteX10" fmla="*/ 319742 w 392904"/>
                <a:gd name="connsiteY10" fmla="*/ 57968 h 309562"/>
                <a:gd name="connsiteX11" fmla="*/ 336441 w 392904"/>
                <a:gd name="connsiteY11" fmla="*/ 82735 h 309562"/>
                <a:gd name="connsiteX12" fmla="*/ 357186 w 392904"/>
                <a:gd name="connsiteY12" fmla="*/ 80848 h 309562"/>
                <a:gd name="connsiteX13" fmla="*/ 392904 w 392904"/>
                <a:gd name="connsiteY13" fmla="*/ 152286 h 309562"/>
                <a:gd name="connsiteX14" fmla="*/ 357186 w 392904"/>
                <a:gd name="connsiteY14" fmla="*/ 235629 h 309562"/>
                <a:gd name="connsiteX15" fmla="*/ 330992 w 392904"/>
                <a:gd name="connsiteY15" fmla="*/ 235629 h 309562"/>
                <a:gd name="connsiteX16" fmla="*/ 330992 w 392904"/>
                <a:gd name="connsiteY16" fmla="*/ 234909 h 309562"/>
                <a:gd name="connsiteX17" fmla="*/ 319742 w 392904"/>
                <a:gd name="connsiteY17" fmla="*/ 251594 h 309562"/>
                <a:gd name="connsiteX18" fmla="*/ 252339 w 392904"/>
                <a:gd name="connsiteY18" fmla="*/ 279514 h 309562"/>
                <a:gd name="connsiteX19" fmla="*/ 213557 w 392904"/>
                <a:gd name="connsiteY19" fmla="*/ 279514 h 309562"/>
                <a:gd name="connsiteX20" fmla="*/ 205010 w 392904"/>
                <a:gd name="connsiteY20" fmla="*/ 300146 h 309562"/>
                <a:gd name="connsiteX21" fmla="*/ 182279 w 392904"/>
                <a:gd name="connsiteY21" fmla="*/ 309562 h 309562"/>
                <a:gd name="connsiteX22" fmla="*/ 139189 w 392904"/>
                <a:gd name="connsiteY22" fmla="*/ 309562 h 309562"/>
                <a:gd name="connsiteX23" fmla="*/ 116458 w 392904"/>
                <a:gd name="connsiteY23" fmla="*/ 300146 h 309562"/>
                <a:gd name="connsiteX24" fmla="*/ 107911 w 392904"/>
                <a:gd name="connsiteY24" fmla="*/ 279514 h 309562"/>
                <a:gd name="connsiteX25" fmla="*/ 95323 w 392904"/>
                <a:gd name="connsiteY25" fmla="*/ 279514 h 309562"/>
                <a:gd name="connsiteX26" fmla="*/ 0 w 392904"/>
                <a:gd name="connsiteY26" fmla="*/ 184191 h 309562"/>
                <a:gd name="connsiteX0" fmla="*/ 0 w 887486"/>
                <a:gd name="connsiteY0" fmla="*/ 184191 h 309562"/>
                <a:gd name="connsiteX1" fmla="*/ 0 w 887486"/>
                <a:gd name="connsiteY1" fmla="*/ 125371 h 309562"/>
                <a:gd name="connsiteX2" fmla="*/ 95323 w 887486"/>
                <a:gd name="connsiteY2" fmla="*/ 30048 h 309562"/>
                <a:gd name="connsiteX3" fmla="*/ 107911 w 887486"/>
                <a:gd name="connsiteY3" fmla="*/ 30048 h 309562"/>
                <a:gd name="connsiteX4" fmla="*/ 116458 w 887486"/>
                <a:gd name="connsiteY4" fmla="*/ 9416 h 309562"/>
                <a:gd name="connsiteX5" fmla="*/ 139189 w 887486"/>
                <a:gd name="connsiteY5" fmla="*/ 0 h 309562"/>
                <a:gd name="connsiteX6" fmla="*/ 182279 w 887486"/>
                <a:gd name="connsiteY6" fmla="*/ 0 h 309562"/>
                <a:gd name="connsiteX7" fmla="*/ 205010 w 887486"/>
                <a:gd name="connsiteY7" fmla="*/ 9416 h 309562"/>
                <a:gd name="connsiteX8" fmla="*/ 213557 w 887486"/>
                <a:gd name="connsiteY8" fmla="*/ 30048 h 309562"/>
                <a:gd name="connsiteX9" fmla="*/ 252339 w 887486"/>
                <a:gd name="connsiteY9" fmla="*/ 30048 h 309562"/>
                <a:gd name="connsiteX10" fmla="*/ 319742 w 887486"/>
                <a:gd name="connsiteY10" fmla="*/ 57968 h 309562"/>
                <a:gd name="connsiteX11" fmla="*/ 336441 w 887486"/>
                <a:gd name="connsiteY11" fmla="*/ 82735 h 309562"/>
                <a:gd name="connsiteX12" fmla="*/ 357186 w 887486"/>
                <a:gd name="connsiteY12" fmla="*/ 80848 h 309562"/>
                <a:gd name="connsiteX13" fmla="*/ 887486 w 887486"/>
                <a:gd name="connsiteY13" fmla="*/ 152287 h 309562"/>
                <a:gd name="connsiteX14" fmla="*/ 357186 w 887486"/>
                <a:gd name="connsiteY14" fmla="*/ 235629 h 309562"/>
                <a:gd name="connsiteX15" fmla="*/ 330992 w 887486"/>
                <a:gd name="connsiteY15" fmla="*/ 235629 h 309562"/>
                <a:gd name="connsiteX16" fmla="*/ 330992 w 887486"/>
                <a:gd name="connsiteY16" fmla="*/ 234909 h 309562"/>
                <a:gd name="connsiteX17" fmla="*/ 319742 w 887486"/>
                <a:gd name="connsiteY17" fmla="*/ 251594 h 309562"/>
                <a:gd name="connsiteX18" fmla="*/ 252339 w 887486"/>
                <a:gd name="connsiteY18" fmla="*/ 279514 h 309562"/>
                <a:gd name="connsiteX19" fmla="*/ 213557 w 887486"/>
                <a:gd name="connsiteY19" fmla="*/ 279514 h 309562"/>
                <a:gd name="connsiteX20" fmla="*/ 205010 w 887486"/>
                <a:gd name="connsiteY20" fmla="*/ 300146 h 309562"/>
                <a:gd name="connsiteX21" fmla="*/ 182279 w 887486"/>
                <a:gd name="connsiteY21" fmla="*/ 309562 h 309562"/>
                <a:gd name="connsiteX22" fmla="*/ 139189 w 887486"/>
                <a:gd name="connsiteY22" fmla="*/ 309562 h 309562"/>
                <a:gd name="connsiteX23" fmla="*/ 116458 w 887486"/>
                <a:gd name="connsiteY23" fmla="*/ 300146 h 309562"/>
                <a:gd name="connsiteX24" fmla="*/ 107911 w 887486"/>
                <a:gd name="connsiteY24" fmla="*/ 279514 h 309562"/>
                <a:gd name="connsiteX25" fmla="*/ 95323 w 887486"/>
                <a:gd name="connsiteY25" fmla="*/ 279514 h 309562"/>
                <a:gd name="connsiteX26" fmla="*/ 0 w 887486"/>
                <a:gd name="connsiteY26" fmla="*/ 184191 h 309562"/>
                <a:gd name="connsiteX0" fmla="*/ 0 w 887486"/>
                <a:gd name="connsiteY0" fmla="*/ 184191 h 309562"/>
                <a:gd name="connsiteX1" fmla="*/ 0 w 887486"/>
                <a:gd name="connsiteY1" fmla="*/ 125371 h 309562"/>
                <a:gd name="connsiteX2" fmla="*/ 95323 w 887486"/>
                <a:gd name="connsiteY2" fmla="*/ 30048 h 309562"/>
                <a:gd name="connsiteX3" fmla="*/ 107911 w 887486"/>
                <a:gd name="connsiteY3" fmla="*/ 30048 h 309562"/>
                <a:gd name="connsiteX4" fmla="*/ 116458 w 887486"/>
                <a:gd name="connsiteY4" fmla="*/ 9416 h 309562"/>
                <a:gd name="connsiteX5" fmla="*/ 139189 w 887486"/>
                <a:gd name="connsiteY5" fmla="*/ 0 h 309562"/>
                <a:gd name="connsiteX6" fmla="*/ 182279 w 887486"/>
                <a:gd name="connsiteY6" fmla="*/ 0 h 309562"/>
                <a:gd name="connsiteX7" fmla="*/ 205010 w 887486"/>
                <a:gd name="connsiteY7" fmla="*/ 9416 h 309562"/>
                <a:gd name="connsiteX8" fmla="*/ 213557 w 887486"/>
                <a:gd name="connsiteY8" fmla="*/ 30048 h 309562"/>
                <a:gd name="connsiteX9" fmla="*/ 252339 w 887486"/>
                <a:gd name="connsiteY9" fmla="*/ 30048 h 309562"/>
                <a:gd name="connsiteX10" fmla="*/ 319742 w 887486"/>
                <a:gd name="connsiteY10" fmla="*/ 57968 h 309562"/>
                <a:gd name="connsiteX11" fmla="*/ 336441 w 887486"/>
                <a:gd name="connsiteY11" fmla="*/ 82735 h 309562"/>
                <a:gd name="connsiteX12" fmla="*/ 357186 w 887486"/>
                <a:gd name="connsiteY12" fmla="*/ 80848 h 309562"/>
                <a:gd name="connsiteX13" fmla="*/ 887486 w 887486"/>
                <a:gd name="connsiteY13" fmla="*/ 168632 h 309562"/>
                <a:gd name="connsiteX14" fmla="*/ 357186 w 887486"/>
                <a:gd name="connsiteY14" fmla="*/ 235629 h 309562"/>
                <a:gd name="connsiteX15" fmla="*/ 330992 w 887486"/>
                <a:gd name="connsiteY15" fmla="*/ 235629 h 309562"/>
                <a:gd name="connsiteX16" fmla="*/ 330992 w 887486"/>
                <a:gd name="connsiteY16" fmla="*/ 234909 h 309562"/>
                <a:gd name="connsiteX17" fmla="*/ 319742 w 887486"/>
                <a:gd name="connsiteY17" fmla="*/ 251594 h 309562"/>
                <a:gd name="connsiteX18" fmla="*/ 252339 w 887486"/>
                <a:gd name="connsiteY18" fmla="*/ 279514 h 309562"/>
                <a:gd name="connsiteX19" fmla="*/ 213557 w 887486"/>
                <a:gd name="connsiteY19" fmla="*/ 279514 h 309562"/>
                <a:gd name="connsiteX20" fmla="*/ 205010 w 887486"/>
                <a:gd name="connsiteY20" fmla="*/ 300146 h 309562"/>
                <a:gd name="connsiteX21" fmla="*/ 182279 w 887486"/>
                <a:gd name="connsiteY21" fmla="*/ 309562 h 309562"/>
                <a:gd name="connsiteX22" fmla="*/ 139189 w 887486"/>
                <a:gd name="connsiteY22" fmla="*/ 309562 h 309562"/>
                <a:gd name="connsiteX23" fmla="*/ 116458 w 887486"/>
                <a:gd name="connsiteY23" fmla="*/ 300146 h 309562"/>
                <a:gd name="connsiteX24" fmla="*/ 107911 w 887486"/>
                <a:gd name="connsiteY24" fmla="*/ 279514 h 309562"/>
                <a:gd name="connsiteX25" fmla="*/ 95323 w 887486"/>
                <a:gd name="connsiteY25" fmla="*/ 279514 h 309562"/>
                <a:gd name="connsiteX26" fmla="*/ 0 w 887486"/>
                <a:gd name="connsiteY26" fmla="*/ 184191 h 309562"/>
                <a:gd name="connsiteX0" fmla="*/ 0 w 887486"/>
                <a:gd name="connsiteY0" fmla="*/ 184191 h 309562"/>
                <a:gd name="connsiteX1" fmla="*/ 0 w 887486"/>
                <a:gd name="connsiteY1" fmla="*/ 125371 h 309562"/>
                <a:gd name="connsiteX2" fmla="*/ 95323 w 887486"/>
                <a:gd name="connsiteY2" fmla="*/ 30048 h 309562"/>
                <a:gd name="connsiteX3" fmla="*/ 107911 w 887486"/>
                <a:gd name="connsiteY3" fmla="*/ 30048 h 309562"/>
                <a:gd name="connsiteX4" fmla="*/ 116458 w 887486"/>
                <a:gd name="connsiteY4" fmla="*/ 9416 h 309562"/>
                <a:gd name="connsiteX5" fmla="*/ 139189 w 887486"/>
                <a:gd name="connsiteY5" fmla="*/ 0 h 309562"/>
                <a:gd name="connsiteX6" fmla="*/ 182279 w 887486"/>
                <a:gd name="connsiteY6" fmla="*/ 0 h 309562"/>
                <a:gd name="connsiteX7" fmla="*/ 205010 w 887486"/>
                <a:gd name="connsiteY7" fmla="*/ 9416 h 309562"/>
                <a:gd name="connsiteX8" fmla="*/ 213557 w 887486"/>
                <a:gd name="connsiteY8" fmla="*/ 30048 h 309562"/>
                <a:gd name="connsiteX9" fmla="*/ 252339 w 887486"/>
                <a:gd name="connsiteY9" fmla="*/ 30048 h 309562"/>
                <a:gd name="connsiteX10" fmla="*/ 319742 w 887486"/>
                <a:gd name="connsiteY10" fmla="*/ 57968 h 309562"/>
                <a:gd name="connsiteX11" fmla="*/ 336441 w 887486"/>
                <a:gd name="connsiteY11" fmla="*/ 82735 h 309562"/>
                <a:gd name="connsiteX12" fmla="*/ 584871 w 887486"/>
                <a:gd name="connsiteY12" fmla="*/ 80848 h 309562"/>
                <a:gd name="connsiteX13" fmla="*/ 887486 w 887486"/>
                <a:gd name="connsiteY13" fmla="*/ 168632 h 309562"/>
                <a:gd name="connsiteX14" fmla="*/ 357186 w 887486"/>
                <a:gd name="connsiteY14" fmla="*/ 235629 h 309562"/>
                <a:gd name="connsiteX15" fmla="*/ 330992 w 887486"/>
                <a:gd name="connsiteY15" fmla="*/ 235629 h 309562"/>
                <a:gd name="connsiteX16" fmla="*/ 330992 w 887486"/>
                <a:gd name="connsiteY16" fmla="*/ 234909 h 309562"/>
                <a:gd name="connsiteX17" fmla="*/ 319742 w 887486"/>
                <a:gd name="connsiteY17" fmla="*/ 251594 h 309562"/>
                <a:gd name="connsiteX18" fmla="*/ 252339 w 887486"/>
                <a:gd name="connsiteY18" fmla="*/ 279514 h 309562"/>
                <a:gd name="connsiteX19" fmla="*/ 213557 w 887486"/>
                <a:gd name="connsiteY19" fmla="*/ 279514 h 309562"/>
                <a:gd name="connsiteX20" fmla="*/ 205010 w 887486"/>
                <a:gd name="connsiteY20" fmla="*/ 300146 h 309562"/>
                <a:gd name="connsiteX21" fmla="*/ 182279 w 887486"/>
                <a:gd name="connsiteY21" fmla="*/ 309562 h 309562"/>
                <a:gd name="connsiteX22" fmla="*/ 139189 w 887486"/>
                <a:gd name="connsiteY22" fmla="*/ 309562 h 309562"/>
                <a:gd name="connsiteX23" fmla="*/ 116458 w 887486"/>
                <a:gd name="connsiteY23" fmla="*/ 300146 h 309562"/>
                <a:gd name="connsiteX24" fmla="*/ 107911 w 887486"/>
                <a:gd name="connsiteY24" fmla="*/ 279514 h 309562"/>
                <a:gd name="connsiteX25" fmla="*/ 95323 w 887486"/>
                <a:gd name="connsiteY25" fmla="*/ 279514 h 309562"/>
                <a:gd name="connsiteX26" fmla="*/ 0 w 887486"/>
                <a:gd name="connsiteY26" fmla="*/ 184191 h 309562"/>
                <a:gd name="connsiteX0" fmla="*/ 0 w 887486"/>
                <a:gd name="connsiteY0" fmla="*/ 184191 h 309562"/>
                <a:gd name="connsiteX1" fmla="*/ 0 w 887486"/>
                <a:gd name="connsiteY1" fmla="*/ 125371 h 309562"/>
                <a:gd name="connsiteX2" fmla="*/ 95323 w 887486"/>
                <a:gd name="connsiteY2" fmla="*/ 30048 h 309562"/>
                <a:gd name="connsiteX3" fmla="*/ 107911 w 887486"/>
                <a:gd name="connsiteY3" fmla="*/ 30048 h 309562"/>
                <a:gd name="connsiteX4" fmla="*/ 116458 w 887486"/>
                <a:gd name="connsiteY4" fmla="*/ 9416 h 309562"/>
                <a:gd name="connsiteX5" fmla="*/ 139189 w 887486"/>
                <a:gd name="connsiteY5" fmla="*/ 0 h 309562"/>
                <a:gd name="connsiteX6" fmla="*/ 182279 w 887486"/>
                <a:gd name="connsiteY6" fmla="*/ 0 h 309562"/>
                <a:gd name="connsiteX7" fmla="*/ 205010 w 887486"/>
                <a:gd name="connsiteY7" fmla="*/ 9416 h 309562"/>
                <a:gd name="connsiteX8" fmla="*/ 213557 w 887486"/>
                <a:gd name="connsiteY8" fmla="*/ 30048 h 309562"/>
                <a:gd name="connsiteX9" fmla="*/ 252339 w 887486"/>
                <a:gd name="connsiteY9" fmla="*/ 30048 h 309562"/>
                <a:gd name="connsiteX10" fmla="*/ 319742 w 887486"/>
                <a:gd name="connsiteY10" fmla="*/ 57968 h 309562"/>
                <a:gd name="connsiteX11" fmla="*/ 336441 w 887486"/>
                <a:gd name="connsiteY11" fmla="*/ 82735 h 309562"/>
                <a:gd name="connsiteX12" fmla="*/ 584871 w 887486"/>
                <a:gd name="connsiteY12" fmla="*/ 80848 h 309562"/>
                <a:gd name="connsiteX13" fmla="*/ 887486 w 887486"/>
                <a:gd name="connsiteY13" fmla="*/ 168632 h 309562"/>
                <a:gd name="connsiteX14" fmla="*/ 499490 w 887486"/>
                <a:gd name="connsiteY14" fmla="*/ 235628 h 309562"/>
                <a:gd name="connsiteX15" fmla="*/ 330992 w 887486"/>
                <a:gd name="connsiteY15" fmla="*/ 235629 h 309562"/>
                <a:gd name="connsiteX16" fmla="*/ 330992 w 887486"/>
                <a:gd name="connsiteY16" fmla="*/ 234909 h 309562"/>
                <a:gd name="connsiteX17" fmla="*/ 319742 w 887486"/>
                <a:gd name="connsiteY17" fmla="*/ 251594 h 309562"/>
                <a:gd name="connsiteX18" fmla="*/ 252339 w 887486"/>
                <a:gd name="connsiteY18" fmla="*/ 279514 h 309562"/>
                <a:gd name="connsiteX19" fmla="*/ 213557 w 887486"/>
                <a:gd name="connsiteY19" fmla="*/ 279514 h 309562"/>
                <a:gd name="connsiteX20" fmla="*/ 205010 w 887486"/>
                <a:gd name="connsiteY20" fmla="*/ 300146 h 309562"/>
                <a:gd name="connsiteX21" fmla="*/ 182279 w 887486"/>
                <a:gd name="connsiteY21" fmla="*/ 309562 h 309562"/>
                <a:gd name="connsiteX22" fmla="*/ 139189 w 887486"/>
                <a:gd name="connsiteY22" fmla="*/ 309562 h 309562"/>
                <a:gd name="connsiteX23" fmla="*/ 116458 w 887486"/>
                <a:gd name="connsiteY23" fmla="*/ 300146 h 309562"/>
                <a:gd name="connsiteX24" fmla="*/ 107911 w 887486"/>
                <a:gd name="connsiteY24" fmla="*/ 279514 h 309562"/>
                <a:gd name="connsiteX25" fmla="*/ 95323 w 887486"/>
                <a:gd name="connsiteY25" fmla="*/ 279514 h 309562"/>
                <a:gd name="connsiteX26" fmla="*/ 0 w 887486"/>
                <a:gd name="connsiteY26" fmla="*/ 184191 h 309562"/>
                <a:gd name="connsiteX0" fmla="*/ 0 w 887486"/>
                <a:gd name="connsiteY0" fmla="*/ 184191 h 309562"/>
                <a:gd name="connsiteX1" fmla="*/ 0 w 887486"/>
                <a:gd name="connsiteY1" fmla="*/ 125371 h 309562"/>
                <a:gd name="connsiteX2" fmla="*/ 95323 w 887486"/>
                <a:gd name="connsiteY2" fmla="*/ 30048 h 309562"/>
                <a:gd name="connsiteX3" fmla="*/ 107911 w 887486"/>
                <a:gd name="connsiteY3" fmla="*/ 30048 h 309562"/>
                <a:gd name="connsiteX4" fmla="*/ 116458 w 887486"/>
                <a:gd name="connsiteY4" fmla="*/ 9416 h 309562"/>
                <a:gd name="connsiteX5" fmla="*/ 139189 w 887486"/>
                <a:gd name="connsiteY5" fmla="*/ 0 h 309562"/>
                <a:gd name="connsiteX6" fmla="*/ 182279 w 887486"/>
                <a:gd name="connsiteY6" fmla="*/ 0 h 309562"/>
                <a:gd name="connsiteX7" fmla="*/ 205010 w 887486"/>
                <a:gd name="connsiteY7" fmla="*/ 9416 h 309562"/>
                <a:gd name="connsiteX8" fmla="*/ 213557 w 887486"/>
                <a:gd name="connsiteY8" fmla="*/ 30048 h 309562"/>
                <a:gd name="connsiteX9" fmla="*/ 252339 w 887486"/>
                <a:gd name="connsiteY9" fmla="*/ 30048 h 309562"/>
                <a:gd name="connsiteX10" fmla="*/ 319742 w 887486"/>
                <a:gd name="connsiteY10" fmla="*/ 57968 h 309562"/>
                <a:gd name="connsiteX11" fmla="*/ 336441 w 887486"/>
                <a:gd name="connsiteY11" fmla="*/ 82735 h 309562"/>
                <a:gd name="connsiteX12" fmla="*/ 584871 w 887486"/>
                <a:gd name="connsiteY12" fmla="*/ 80848 h 309562"/>
                <a:gd name="connsiteX13" fmla="*/ 887486 w 887486"/>
                <a:gd name="connsiteY13" fmla="*/ 168632 h 309562"/>
                <a:gd name="connsiteX14" fmla="*/ 499490 w 887486"/>
                <a:gd name="connsiteY14" fmla="*/ 224968 h 309562"/>
                <a:gd name="connsiteX15" fmla="*/ 330992 w 887486"/>
                <a:gd name="connsiteY15" fmla="*/ 235629 h 309562"/>
                <a:gd name="connsiteX16" fmla="*/ 330992 w 887486"/>
                <a:gd name="connsiteY16" fmla="*/ 234909 h 309562"/>
                <a:gd name="connsiteX17" fmla="*/ 319742 w 887486"/>
                <a:gd name="connsiteY17" fmla="*/ 251594 h 309562"/>
                <a:gd name="connsiteX18" fmla="*/ 252339 w 887486"/>
                <a:gd name="connsiteY18" fmla="*/ 279514 h 309562"/>
                <a:gd name="connsiteX19" fmla="*/ 213557 w 887486"/>
                <a:gd name="connsiteY19" fmla="*/ 279514 h 309562"/>
                <a:gd name="connsiteX20" fmla="*/ 205010 w 887486"/>
                <a:gd name="connsiteY20" fmla="*/ 300146 h 309562"/>
                <a:gd name="connsiteX21" fmla="*/ 182279 w 887486"/>
                <a:gd name="connsiteY21" fmla="*/ 309562 h 309562"/>
                <a:gd name="connsiteX22" fmla="*/ 139189 w 887486"/>
                <a:gd name="connsiteY22" fmla="*/ 309562 h 309562"/>
                <a:gd name="connsiteX23" fmla="*/ 116458 w 887486"/>
                <a:gd name="connsiteY23" fmla="*/ 300146 h 309562"/>
                <a:gd name="connsiteX24" fmla="*/ 107911 w 887486"/>
                <a:gd name="connsiteY24" fmla="*/ 279514 h 309562"/>
                <a:gd name="connsiteX25" fmla="*/ 95323 w 887486"/>
                <a:gd name="connsiteY25" fmla="*/ 279514 h 309562"/>
                <a:gd name="connsiteX26" fmla="*/ 0 w 887486"/>
                <a:gd name="connsiteY26" fmla="*/ 184191 h 309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887486" h="309562">
                  <a:moveTo>
                    <a:pt x="0" y="184191"/>
                  </a:moveTo>
                  <a:lnTo>
                    <a:pt x="0" y="125371"/>
                  </a:lnTo>
                  <a:cubicBezTo>
                    <a:pt x="0" y="72726"/>
                    <a:pt x="42678" y="30048"/>
                    <a:pt x="95323" y="30048"/>
                  </a:cubicBezTo>
                  <a:lnTo>
                    <a:pt x="107911" y="30048"/>
                  </a:lnTo>
                  <a:lnTo>
                    <a:pt x="116458" y="9416"/>
                  </a:lnTo>
                  <a:cubicBezTo>
                    <a:pt x="122275" y="3598"/>
                    <a:pt x="130312" y="0"/>
                    <a:pt x="139189" y="0"/>
                  </a:cubicBezTo>
                  <a:lnTo>
                    <a:pt x="182279" y="0"/>
                  </a:lnTo>
                  <a:cubicBezTo>
                    <a:pt x="191156" y="0"/>
                    <a:pt x="199193" y="3598"/>
                    <a:pt x="205010" y="9416"/>
                  </a:cubicBezTo>
                  <a:lnTo>
                    <a:pt x="213557" y="30048"/>
                  </a:lnTo>
                  <a:lnTo>
                    <a:pt x="252339" y="30048"/>
                  </a:lnTo>
                  <a:cubicBezTo>
                    <a:pt x="278662" y="30048"/>
                    <a:pt x="302492" y="40718"/>
                    <a:pt x="319742" y="57968"/>
                  </a:cubicBezTo>
                  <a:lnTo>
                    <a:pt x="336441" y="82735"/>
                  </a:lnTo>
                  <a:lnTo>
                    <a:pt x="584871" y="80848"/>
                  </a:lnTo>
                  <a:lnTo>
                    <a:pt x="887486" y="168632"/>
                  </a:lnTo>
                  <a:lnTo>
                    <a:pt x="499490" y="224968"/>
                  </a:lnTo>
                  <a:lnTo>
                    <a:pt x="330992" y="235629"/>
                  </a:lnTo>
                  <a:lnTo>
                    <a:pt x="330992" y="234909"/>
                  </a:lnTo>
                  <a:lnTo>
                    <a:pt x="319742" y="251594"/>
                  </a:lnTo>
                  <a:cubicBezTo>
                    <a:pt x="302492" y="268845"/>
                    <a:pt x="278662" y="279514"/>
                    <a:pt x="252339" y="279514"/>
                  </a:cubicBezTo>
                  <a:lnTo>
                    <a:pt x="213557" y="279514"/>
                  </a:lnTo>
                  <a:lnTo>
                    <a:pt x="205010" y="300146"/>
                  </a:lnTo>
                  <a:cubicBezTo>
                    <a:pt x="199193" y="305964"/>
                    <a:pt x="191156" y="309562"/>
                    <a:pt x="182279" y="309562"/>
                  </a:cubicBezTo>
                  <a:lnTo>
                    <a:pt x="139189" y="309562"/>
                  </a:lnTo>
                  <a:cubicBezTo>
                    <a:pt x="130312" y="309562"/>
                    <a:pt x="122275" y="305964"/>
                    <a:pt x="116458" y="300146"/>
                  </a:cubicBezTo>
                  <a:lnTo>
                    <a:pt x="107911" y="279514"/>
                  </a:lnTo>
                  <a:lnTo>
                    <a:pt x="95323" y="279514"/>
                  </a:lnTo>
                  <a:cubicBezTo>
                    <a:pt x="42678" y="279514"/>
                    <a:pt x="0" y="236836"/>
                    <a:pt x="0" y="184191"/>
                  </a:cubicBezTo>
                  <a:close/>
                </a:path>
              </a:pathLst>
            </a:custGeom>
            <a:solidFill>
              <a:srgbClr val="FFC000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 smtClean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6" name="Freeform 45"/>
            <p:cNvSpPr/>
            <p:nvPr/>
          </p:nvSpPr>
          <p:spPr bwMode="auto">
            <a:xfrm flipH="1">
              <a:off x="9922498" y="4314829"/>
              <a:ext cx="192415" cy="175443"/>
            </a:xfrm>
            <a:custGeom>
              <a:avLst/>
              <a:gdLst>
                <a:gd name="connsiteX0" fmla="*/ 300038 w 300038"/>
                <a:gd name="connsiteY0" fmla="*/ 190500 h 190500"/>
                <a:gd name="connsiteX1" fmla="*/ 271463 w 300038"/>
                <a:gd name="connsiteY1" fmla="*/ 116681 h 190500"/>
                <a:gd name="connsiteX2" fmla="*/ 195263 w 300038"/>
                <a:gd name="connsiteY2" fmla="*/ 107156 h 190500"/>
                <a:gd name="connsiteX3" fmla="*/ 52388 w 300038"/>
                <a:gd name="connsiteY3" fmla="*/ 100012 h 190500"/>
                <a:gd name="connsiteX4" fmla="*/ 21431 w 300038"/>
                <a:gd name="connsiteY4" fmla="*/ 119062 h 190500"/>
                <a:gd name="connsiteX5" fmla="*/ 23813 w 300038"/>
                <a:gd name="connsiteY5" fmla="*/ 164306 h 190500"/>
                <a:gd name="connsiteX6" fmla="*/ 0 w 300038"/>
                <a:gd name="connsiteY6" fmla="*/ 171450 h 190500"/>
                <a:gd name="connsiteX7" fmla="*/ 97631 w 300038"/>
                <a:gd name="connsiteY7" fmla="*/ 0 h 190500"/>
                <a:gd name="connsiteX8" fmla="*/ 214313 w 300038"/>
                <a:gd name="connsiteY8" fmla="*/ 40481 h 190500"/>
                <a:gd name="connsiteX9" fmla="*/ 300038 w 300038"/>
                <a:gd name="connsiteY9" fmla="*/ 190500 h 190500"/>
                <a:gd name="connsiteX0" fmla="*/ 300038 w 300038"/>
                <a:gd name="connsiteY0" fmla="*/ 190500 h 190500"/>
                <a:gd name="connsiteX1" fmla="*/ 271463 w 300038"/>
                <a:gd name="connsiteY1" fmla="*/ 116681 h 190500"/>
                <a:gd name="connsiteX2" fmla="*/ 195263 w 300038"/>
                <a:gd name="connsiteY2" fmla="*/ 107156 h 190500"/>
                <a:gd name="connsiteX3" fmla="*/ 52388 w 300038"/>
                <a:gd name="connsiteY3" fmla="*/ 100012 h 190500"/>
                <a:gd name="connsiteX4" fmla="*/ 21431 w 300038"/>
                <a:gd name="connsiteY4" fmla="*/ 119062 h 190500"/>
                <a:gd name="connsiteX5" fmla="*/ 23813 w 300038"/>
                <a:gd name="connsiteY5" fmla="*/ 164306 h 190500"/>
                <a:gd name="connsiteX6" fmla="*/ 0 w 300038"/>
                <a:gd name="connsiteY6" fmla="*/ 171450 h 190500"/>
                <a:gd name="connsiteX7" fmla="*/ 97631 w 300038"/>
                <a:gd name="connsiteY7" fmla="*/ 0 h 190500"/>
                <a:gd name="connsiteX8" fmla="*/ 214313 w 300038"/>
                <a:gd name="connsiteY8" fmla="*/ 40481 h 190500"/>
                <a:gd name="connsiteX9" fmla="*/ 300038 w 300038"/>
                <a:gd name="connsiteY9" fmla="*/ 190500 h 190500"/>
                <a:gd name="connsiteX0" fmla="*/ 300038 w 300038"/>
                <a:gd name="connsiteY0" fmla="*/ 190500 h 190500"/>
                <a:gd name="connsiteX1" fmla="*/ 271463 w 300038"/>
                <a:gd name="connsiteY1" fmla="*/ 116681 h 190500"/>
                <a:gd name="connsiteX2" fmla="*/ 195263 w 300038"/>
                <a:gd name="connsiteY2" fmla="*/ 107156 h 190500"/>
                <a:gd name="connsiteX3" fmla="*/ 52388 w 300038"/>
                <a:gd name="connsiteY3" fmla="*/ 100012 h 190500"/>
                <a:gd name="connsiteX4" fmla="*/ 21431 w 300038"/>
                <a:gd name="connsiteY4" fmla="*/ 119062 h 190500"/>
                <a:gd name="connsiteX5" fmla="*/ 23813 w 300038"/>
                <a:gd name="connsiteY5" fmla="*/ 164306 h 190500"/>
                <a:gd name="connsiteX6" fmla="*/ 0 w 300038"/>
                <a:gd name="connsiteY6" fmla="*/ 171450 h 190500"/>
                <a:gd name="connsiteX7" fmla="*/ 97631 w 300038"/>
                <a:gd name="connsiteY7" fmla="*/ 0 h 190500"/>
                <a:gd name="connsiteX8" fmla="*/ 214313 w 300038"/>
                <a:gd name="connsiteY8" fmla="*/ 40481 h 190500"/>
                <a:gd name="connsiteX9" fmla="*/ 300038 w 300038"/>
                <a:gd name="connsiteY9" fmla="*/ 190500 h 190500"/>
                <a:gd name="connsiteX0" fmla="*/ 300038 w 301649"/>
                <a:gd name="connsiteY0" fmla="*/ 190500 h 190500"/>
                <a:gd name="connsiteX1" fmla="*/ 271463 w 301649"/>
                <a:gd name="connsiteY1" fmla="*/ 116681 h 190500"/>
                <a:gd name="connsiteX2" fmla="*/ 195263 w 301649"/>
                <a:gd name="connsiteY2" fmla="*/ 107156 h 190500"/>
                <a:gd name="connsiteX3" fmla="*/ 52388 w 301649"/>
                <a:gd name="connsiteY3" fmla="*/ 100012 h 190500"/>
                <a:gd name="connsiteX4" fmla="*/ 21431 w 301649"/>
                <a:gd name="connsiteY4" fmla="*/ 119062 h 190500"/>
                <a:gd name="connsiteX5" fmla="*/ 23813 w 301649"/>
                <a:gd name="connsiteY5" fmla="*/ 164306 h 190500"/>
                <a:gd name="connsiteX6" fmla="*/ 0 w 301649"/>
                <a:gd name="connsiteY6" fmla="*/ 171450 h 190500"/>
                <a:gd name="connsiteX7" fmla="*/ 97631 w 301649"/>
                <a:gd name="connsiteY7" fmla="*/ 0 h 190500"/>
                <a:gd name="connsiteX8" fmla="*/ 214313 w 301649"/>
                <a:gd name="connsiteY8" fmla="*/ 40481 h 190500"/>
                <a:gd name="connsiteX9" fmla="*/ 300038 w 301649"/>
                <a:gd name="connsiteY9" fmla="*/ 190500 h 190500"/>
                <a:gd name="connsiteX0" fmla="*/ 300038 w 301649"/>
                <a:gd name="connsiteY0" fmla="*/ 194507 h 194507"/>
                <a:gd name="connsiteX1" fmla="*/ 271463 w 301649"/>
                <a:gd name="connsiteY1" fmla="*/ 120688 h 194507"/>
                <a:gd name="connsiteX2" fmla="*/ 195263 w 301649"/>
                <a:gd name="connsiteY2" fmla="*/ 111163 h 194507"/>
                <a:gd name="connsiteX3" fmla="*/ 52388 w 301649"/>
                <a:gd name="connsiteY3" fmla="*/ 104019 h 194507"/>
                <a:gd name="connsiteX4" fmla="*/ 21431 w 301649"/>
                <a:gd name="connsiteY4" fmla="*/ 123069 h 194507"/>
                <a:gd name="connsiteX5" fmla="*/ 23813 w 301649"/>
                <a:gd name="connsiteY5" fmla="*/ 168313 h 194507"/>
                <a:gd name="connsiteX6" fmla="*/ 0 w 301649"/>
                <a:gd name="connsiteY6" fmla="*/ 175457 h 194507"/>
                <a:gd name="connsiteX7" fmla="*/ 97631 w 301649"/>
                <a:gd name="connsiteY7" fmla="*/ 4007 h 194507"/>
                <a:gd name="connsiteX8" fmla="*/ 214313 w 301649"/>
                <a:gd name="connsiteY8" fmla="*/ 44488 h 194507"/>
                <a:gd name="connsiteX9" fmla="*/ 300038 w 301649"/>
                <a:gd name="connsiteY9" fmla="*/ 194507 h 194507"/>
                <a:gd name="connsiteX0" fmla="*/ 300038 w 301649"/>
                <a:gd name="connsiteY0" fmla="*/ 195665 h 195665"/>
                <a:gd name="connsiteX1" fmla="*/ 271463 w 301649"/>
                <a:gd name="connsiteY1" fmla="*/ 121846 h 195665"/>
                <a:gd name="connsiteX2" fmla="*/ 195263 w 301649"/>
                <a:gd name="connsiteY2" fmla="*/ 112321 h 195665"/>
                <a:gd name="connsiteX3" fmla="*/ 52388 w 301649"/>
                <a:gd name="connsiteY3" fmla="*/ 105177 h 195665"/>
                <a:gd name="connsiteX4" fmla="*/ 21431 w 301649"/>
                <a:gd name="connsiteY4" fmla="*/ 124227 h 195665"/>
                <a:gd name="connsiteX5" fmla="*/ 23813 w 301649"/>
                <a:gd name="connsiteY5" fmla="*/ 169471 h 195665"/>
                <a:gd name="connsiteX6" fmla="*/ 0 w 301649"/>
                <a:gd name="connsiteY6" fmla="*/ 176615 h 195665"/>
                <a:gd name="connsiteX7" fmla="*/ 97631 w 301649"/>
                <a:gd name="connsiteY7" fmla="*/ 5165 h 195665"/>
                <a:gd name="connsiteX8" fmla="*/ 214313 w 301649"/>
                <a:gd name="connsiteY8" fmla="*/ 45646 h 195665"/>
                <a:gd name="connsiteX9" fmla="*/ 300038 w 301649"/>
                <a:gd name="connsiteY9" fmla="*/ 195665 h 195665"/>
                <a:gd name="connsiteX0" fmla="*/ 300038 w 301649"/>
                <a:gd name="connsiteY0" fmla="*/ 195665 h 195665"/>
                <a:gd name="connsiteX1" fmla="*/ 271463 w 301649"/>
                <a:gd name="connsiteY1" fmla="*/ 121846 h 195665"/>
                <a:gd name="connsiteX2" fmla="*/ 195263 w 301649"/>
                <a:gd name="connsiteY2" fmla="*/ 112321 h 195665"/>
                <a:gd name="connsiteX3" fmla="*/ 52388 w 301649"/>
                <a:gd name="connsiteY3" fmla="*/ 105177 h 195665"/>
                <a:gd name="connsiteX4" fmla="*/ 45243 w 301649"/>
                <a:gd name="connsiteY4" fmla="*/ 150420 h 195665"/>
                <a:gd name="connsiteX5" fmla="*/ 23813 w 301649"/>
                <a:gd name="connsiteY5" fmla="*/ 169471 h 195665"/>
                <a:gd name="connsiteX6" fmla="*/ 0 w 301649"/>
                <a:gd name="connsiteY6" fmla="*/ 176615 h 195665"/>
                <a:gd name="connsiteX7" fmla="*/ 97631 w 301649"/>
                <a:gd name="connsiteY7" fmla="*/ 5165 h 195665"/>
                <a:gd name="connsiteX8" fmla="*/ 214313 w 301649"/>
                <a:gd name="connsiteY8" fmla="*/ 45646 h 195665"/>
                <a:gd name="connsiteX9" fmla="*/ 300038 w 301649"/>
                <a:gd name="connsiteY9" fmla="*/ 195665 h 195665"/>
                <a:gd name="connsiteX0" fmla="*/ 300483 w 302094"/>
                <a:gd name="connsiteY0" fmla="*/ 195665 h 195665"/>
                <a:gd name="connsiteX1" fmla="*/ 271908 w 302094"/>
                <a:gd name="connsiteY1" fmla="*/ 121846 h 195665"/>
                <a:gd name="connsiteX2" fmla="*/ 195708 w 302094"/>
                <a:gd name="connsiteY2" fmla="*/ 112321 h 195665"/>
                <a:gd name="connsiteX3" fmla="*/ 52833 w 302094"/>
                <a:gd name="connsiteY3" fmla="*/ 105177 h 195665"/>
                <a:gd name="connsiteX4" fmla="*/ 45688 w 302094"/>
                <a:gd name="connsiteY4" fmla="*/ 150420 h 195665"/>
                <a:gd name="connsiteX5" fmla="*/ 24258 w 302094"/>
                <a:gd name="connsiteY5" fmla="*/ 169471 h 195665"/>
                <a:gd name="connsiteX6" fmla="*/ 445 w 302094"/>
                <a:gd name="connsiteY6" fmla="*/ 176615 h 195665"/>
                <a:gd name="connsiteX7" fmla="*/ 98076 w 302094"/>
                <a:gd name="connsiteY7" fmla="*/ 5165 h 195665"/>
                <a:gd name="connsiteX8" fmla="*/ 214758 w 302094"/>
                <a:gd name="connsiteY8" fmla="*/ 45646 h 195665"/>
                <a:gd name="connsiteX9" fmla="*/ 300483 w 302094"/>
                <a:gd name="connsiteY9" fmla="*/ 195665 h 195665"/>
                <a:gd name="connsiteX0" fmla="*/ 300483 w 302094"/>
                <a:gd name="connsiteY0" fmla="*/ 195665 h 195665"/>
                <a:gd name="connsiteX1" fmla="*/ 271908 w 302094"/>
                <a:gd name="connsiteY1" fmla="*/ 121846 h 195665"/>
                <a:gd name="connsiteX2" fmla="*/ 195708 w 302094"/>
                <a:gd name="connsiteY2" fmla="*/ 112321 h 195665"/>
                <a:gd name="connsiteX3" fmla="*/ 52833 w 302094"/>
                <a:gd name="connsiteY3" fmla="*/ 105177 h 195665"/>
                <a:gd name="connsiteX4" fmla="*/ 45688 w 302094"/>
                <a:gd name="connsiteY4" fmla="*/ 150420 h 195665"/>
                <a:gd name="connsiteX5" fmla="*/ 21877 w 302094"/>
                <a:gd name="connsiteY5" fmla="*/ 131371 h 195665"/>
                <a:gd name="connsiteX6" fmla="*/ 445 w 302094"/>
                <a:gd name="connsiteY6" fmla="*/ 176615 h 195665"/>
                <a:gd name="connsiteX7" fmla="*/ 98076 w 302094"/>
                <a:gd name="connsiteY7" fmla="*/ 5165 h 195665"/>
                <a:gd name="connsiteX8" fmla="*/ 214758 w 302094"/>
                <a:gd name="connsiteY8" fmla="*/ 45646 h 195665"/>
                <a:gd name="connsiteX9" fmla="*/ 300483 w 302094"/>
                <a:gd name="connsiteY9" fmla="*/ 195665 h 195665"/>
                <a:gd name="connsiteX0" fmla="*/ 300483 w 302094"/>
                <a:gd name="connsiteY0" fmla="*/ 195665 h 195665"/>
                <a:gd name="connsiteX1" fmla="*/ 271908 w 302094"/>
                <a:gd name="connsiteY1" fmla="*/ 121846 h 195665"/>
                <a:gd name="connsiteX2" fmla="*/ 195708 w 302094"/>
                <a:gd name="connsiteY2" fmla="*/ 112321 h 195665"/>
                <a:gd name="connsiteX3" fmla="*/ 52833 w 302094"/>
                <a:gd name="connsiteY3" fmla="*/ 105177 h 195665"/>
                <a:gd name="connsiteX4" fmla="*/ 43307 w 302094"/>
                <a:gd name="connsiteY4" fmla="*/ 126608 h 195665"/>
                <a:gd name="connsiteX5" fmla="*/ 21877 w 302094"/>
                <a:gd name="connsiteY5" fmla="*/ 131371 h 195665"/>
                <a:gd name="connsiteX6" fmla="*/ 445 w 302094"/>
                <a:gd name="connsiteY6" fmla="*/ 176615 h 195665"/>
                <a:gd name="connsiteX7" fmla="*/ 98076 w 302094"/>
                <a:gd name="connsiteY7" fmla="*/ 5165 h 195665"/>
                <a:gd name="connsiteX8" fmla="*/ 214758 w 302094"/>
                <a:gd name="connsiteY8" fmla="*/ 45646 h 195665"/>
                <a:gd name="connsiteX9" fmla="*/ 300483 w 302094"/>
                <a:gd name="connsiteY9" fmla="*/ 195665 h 195665"/>
                <a:gd name="connsiteX0" fmla="*/ 300483 w 302094"/>
                <a:gd name="connsiteY0" fmla="*/ 195665 h 195665"/>
                <a:gd name="connsiteX1" fmla="*/ 271908 w 302094"/>
                <a:gd name="connsiteY1" fmla="*/ 121846 h 195665"/>
                <a:gd name="connsiteX2" fmla="*/ 195708 w 302094"/>
                <a:gd name="connsiteY2" fmla="*/ 112321 h 195665"/>
                <a:gd name="connsiteX3" fmla="*/ 52833 w 302094"/>
                <a:gd name="connsiteY3" fmla="*/ 105177 h 195665"/>
                <a:gd name="connsiteX4" fmla="*/ 43307 w 302094"/>
                <a:gd name="connsiteY4" fmla="*/ 126608 h 195665"/>
                <a:gd name="connsiteX5" fmla="*/ 12352 w 302094"/>
                <a:gd name="connsiteY5" fmla="*/ 171852 h 195665"/>
                <a:gd name="connsiteX6" fmla="*/ 445 w 302094"/>
                <a:gd name="connsiteY6" fmla="*/ 176615 h 195665"/>
                <a:gd name="connsiteX7" fmla="*/ 98076 w 302094"/>
                <a:gd name="connsiteY7" fmla="*/ 5165 h 195665"/>
                <a:gd name="connsiteX8" fmla="*/ 214758 w 302094"/>
                <a:gd name="connsiteY8" fmla="*/ 45646 h 195665"/>
                <a:gd name="connsiteX9" fmla="*/ 300483 w 302094"/>
                <a:gd name="connsiteY9" fmla="*/ 195665 h 195665"/>
                <a:gd name="connsiteX0" fmla="*/ 300483 w 302094"/>
                <a:gd name="connsiteY0" fmla="*/ 195665 h 195665"/>
                <a:gd name="connsiteX1" fmla="*/ 271908 w 302094"/>
                <a:gd name="connsiteY1" fmla="*/ 121846 h 195665"/>
                <a:gd name="connsiteX2" fmla="*/ 195708 w 302094"/>
                <a:gd name="connsiteY2" fmla="*/ 112321 h 195665"/>
                <a:gd name="connsiteX3" fmla="*/ 52833 w 302094"/>
                <a:gd name="connsiteY3" fmla="*/ 105177 h 195665"/>
                <a:gd name="connsiteX4" fmla="*/ 43307 w 302094"/>
                <a:gd name="connsiteY4" fmla="*/ 126608 h 195665"/>
                <a:gd name="connsiteX5" fmla="*/ 12352 w 302094"/>
                <a:gd name="connsiteY5" fmla="*/ 171852 h 195665"/>
                <a:gd name="connsiteX6" fmla="*/ 445 w 302094"/>
                <a:gd name="connsiteY6" fmla="*/ 176615 h 195665"/>
                <a:gd name="connsiteX7" fmla="*/ 98076 w 302094"/>
                <a:gd name="connsiteY7" fmla="*/ 5165 h 195665"/>
                <a:gd name="connsiteX8" fmla="*/ 214758 w 302094"/>
                <a:gd name="connsiteY8" fmla="*/ 45646 h 195665"/>
                <a:gd name="connsiteX9" fmla="*/ 300483 w 302094"/>
                <a:gd name="connsiteY9" fmla="*/ 195665 h 195665"/>
                <a:gd name="connsiteX0" fmla="*/ 300483 w 302094"/>
                <a:gd name="connsiteY0" fmla="*/ 195665 h 195665"/>
                <a:gd name="connsiteX1" fmla="*/ 271908 w 302094"/>
                <a:gd name="connsiteY1" fmla="*/ 121846 h 195665"/>
                <a:gd name="connsiteX2" fmla="*/ 195708 w 302094"/>
                <a:gd name="connsiteY2" fmla="*/ 112321 h 195665"/>
                <a:gd name="connsiteX3" fmla="*/ 52833 w 302094"/>
                <a:gd name="connsiteY3" fmla="*/ 105177 h 195665"/>
                <a:gd name="connsiteX4" fmla="*/ 43307 w 302094"/>
                <a:gd name="connsiteY4" fmla="*/ 126608 h 195665"/>
                <a:gd name="connsiteX5" fmla="*/ 12352 w 302094"/>
                <a:gd name="connsiteY5" fmla="*/ 171852 h 195665"/>
                <a:gd name="connsiteX6" fmla="*/ 445 w 302094"/>
                <a:gd name="connsiteY6" fmla="*/ 176615 h 195665"/>
                <a:gd name="connsiteX7" fmla="*/ 98076 w 302094"/>
                <a:gd name="connsiteY7" fmla="*/ 5165 h 195665"/>
                <a:gd name="connsiteX8" fmla="*/ 214758 w 302094"/>
                <a:gd name="connsiteY8" fmla="*/ 45646 h 195665"/>
                <a:gd name="connsiteX9" fmla="*/ 300483 w 302094"/>
                <a:gd name="connsiteY9" fmla="*/ 195665 h 195665"/>
                <a:gd name="connsiteX0" fmla="*/ 300483 w 302094"/>
                <a:gd name="connsiteY0" fmla="*/ 195665 h 195665"/>
                <a:gd name="connsiteX1" fmla="*/ 271908 w 302094"/>
                <a:gd name="connsiteY1" fmla="*/ 121846 h 195665"/>
                <a:gd name="connsiteX2" fmla="*/ 195708 w 302094"/>
                <a:gd name="connsiteY2" fmla="*/ 112321 h 195665"/>
                <a:gd name="connsiteX3" fmla="*/ 52833 w 302094"/>
                <a:gd name="connsiteY3" fmla="*/ 105177 h 195665"/>
                <a:gd name="connsiteX4" fmla="*/ 43307 w 302094"/>
                <a:gd name="connsiteY4" fmla="*/ 126608 h 195665"/>
                <a:gd name="connsiteX5" fmla="*/ 12352 w 302094"/>
                <a:gd name="connsiteY5" fmla="*/ 171852 h 195665"/>
                <a:gd name="connsiteX6" fmla="*/ 445 w 302094"/>
                <a:gd name="connsiteY6" fmla="*/ 176615 h 195665"/>
                <a:gd name="connsiteX7" fmla="*/ 98076 w 302094"/>
                <a:gd name="connsiteY7" fmla="*/ 5165 h 195665"/>
                <a:gd name="connsiteX8" fmla="*/ 214758 w 302094"/>
                <a:gd name="connsiteY8" fmla="*/ 45646 h 195665"/>
                <a:gd name="connsiteX9" fmla="*/ 300483 w 302094"/>
                <a:gd name="connsiteY9" fmla="*/ 195665 h 195665"/>
                <a:gd name="connsiteX0" fmla="*/ 300483 w 302094"/>
                <a:gd name="connsiteY0" fmla="*/ 195665 h 195665"/>
                <a:gd name="connsiteX1" fmla="*/ 271908 w 302094"/>
                <a:gd name="connsiteY1" fmla="*/ 121846 h 195665"/>
                <a:gd name="connsiteX2" fmla="*/ 195708 w 302094"/>
                <a:gd name="connsiteY2" fmla="*/ 112321 h 195665"/>
                <a:gd name="connsiteX3" fmla="*/ 52833 w 302094"/>
                <a:gd name="connsiteY3" fmla="*/ 105177 h 195665"/>
                <a:gd name="connsiteX4" fmla="*/ 43307 w 302094"/>
                <a:gd name="connsiteY4" fmla="*/ 126608 h 195665"/>
                <a:gd name="connsiteX5" fmla="*/ 12352 w 302094"/>
                <a:gd name="connsiteY5" fmla="*/ 171852 h 195665"/>
                <a:gd name="connsiteX6" fmla="*/ 445 w 302094"/>
                <a:gd name="connsiteY6" fmla="*/ 176615 h 195665"/>
                <a:gd name="connsiteX7" fmla="*/ 98076 w 302094"/>
                <a:gd name="connsiteY7" fmla="*/ 5165 h 195665"/>
                <a:gd name="connsiteX8" fmla="*/ 214758 w 302094"/>
                <a:gd name="connsiteY8" fmla="*/ 45646 h 195665"/>
                <a:gd name="connsiteX9" fmla="*/ 300483 w 302094"/>
                <a:gd name="connsiteY9" fmla="*/ 195665 h 195665"/>
                <a:gd name="connsiteX0" fmla="*/ 300483 w 301906"/>
                <a:gd name="connsiteY0" fmla="*/ 195665 h 195665"/>
                <a:gd name="connsiteX1" fmla="*/ 271908 w 301906"/>
                <a:gd name="connsiteY1" fmla="*/ 121846 h 195665"/>
                <a:gd name="connsiteX2" fmla="*/ 195708 w 301906"/>
                <a:gd name="connsiteY2" fmla="*/ 112321 h 195665"/>
                <a:gd name="connsiteX3" fmla="*/ 52833 w 301906"/>
                <a:gd name="connsiteY3" fmla="*/ 105177 h 195665"/>
                <a:gd name="connsiteX4" fmla="*/ 43307 w 301906"/>
                <a:gd name="connsiteY4" fmla="*/ 126608 h 195665"/>
                <a:gd name="connsiteX5" fmla="*/ 12352 w 301906"/>
                <a:gd name="connsiteY5" fmla="*/ 171852 h 195665"/>
                <a:gd name="connsiteX6" fmla="*/ 445 w 301906"/>
                <a:gd name="connsiteY6" fmla="*/ 176615 h 195665"/>
                <a:gd name="connsiteX7" fmla="*/ 98076 w 301906"/>
                <a:gd name="connsiteY7" fmla="*/ 5165 h 195665"/>
                <a:gd name="connsiteX8" fmla="*/ 214758 w 301906"/>
                <a:gd name="connsiteY8" fmla="*/ 45646 h 195665"/>
                <a:gd name="connsiteX9" fmla="*/ 300483 w 301906"/>
                <a:gd name="connsiteY9" fmla="*/ 195665 h 195665"/>
                <a:gd name="connsiteX0" fmla="*/ 300483 w 301906"/>
                <a:gd name="connsiteY0" fmla="*/ 195665 h 195665"/>
                <a:gd name="connsiteX1" fmla="*/ 271908 w 301906"/>
                <a:gd name="connsiteY1" fmla="*/ 121846 h 195665"/>
                <a:gd name="connsiteX2" fmla="*/ 195708 w 301906"/>
                <a:gd name="connsiteY2" fmla="*/ 112321 h 195665"/>
                <a:gd name="connsiteX3" fmla="*/ 52833 w 301906"/>
                <a:gd name="connsiteY3" fmla="*/ 105177 h 195665"/>
                <a:gd name="connsiteX4" fmla="*/ 43307 w 301906"/>
                <a:gd name="connsiteY4" fmla="*/ 126608 h 195665"/>
                <a:gd name="connsiteX5" fmla="*/ 12352 w 301906"/>
                <a:gd name="connsiteY5" fmla="*/ 171852 h 195665"/>
                <a:gd name="connsiteX6" fmla="*/ 445 w 301906"/>
                <a:gd name="connsiteY6" fmla="*/ 176615 h 195665"/>
                <a:gd name="connsiteX7" fmla="*/ 98076 w 301906"/>
                <a:gd name="connsiteY7" fmla="*/ 5165 h 195665"/>
                <a:gd name="connsiteX8" fmla="*/ 214758 w 301906"/>
                <a:gd name="connsiteY8" fmla="*/ 45646 h 195665"/>
                <a:gd name="connsiteX9" fmla="*/ 300483 w 301906"/>
                <a:gd name="connsiteY9" fmla="*/ 195665 h 195665"/>
                <a:gd name="connsiteX0" fmla="*/ 300157 w 305426"/>
                <a:gd name="connsiteY0" fmla="*/ 207197 h 207197"/>
                <a:gd name="connsiteX1" fmla="*/ 271582 w 305426"/>
                <a:gd name="connsiteY1" fmla="*/ 133378 h 207197"/>
                <a:gd name="connsiteX2" fmla="*/ 195382 w 305426"/>
                <a:gd name="connsiteY2" fmla="*/ 123853 h 207197"/>
                <a:gd name="connsiteX3" fmla="*/ 52507 w 305426"/>
                <a:gd name="connsiteY3" fmla="*/ 116709 h 207197"/>
                <a:gd name="connsiteX4" fmla="*/ 42981 w 305426"/>
                <a:gd name="connsiteY4" fmla="*/ 138140 h 207197"/>
                <a:gd name="connsiteX5" fmla="*/ 12026 w 305426"/>
                <a:gd name="connsiteY5" fmla="*/ 183384 h 207197"/>
                <a:gd name="connsiteX6" fmla="*/ 119 w 305426"/>
                <a:gd name="connsiteY6" fmla="*/ 188147 h 207197"/>
                <a:gd name="connsiteX7" fmla="*/ 97750 w 305426"/>
                <a:gd name="connsiteY7" fmla="*/ 16697 h 207197"/>
                <a:gd name="connsiteX8" fmla="*/ 236657 w 305426"/>
                <a:gd name="connsiteY8" fmla="*/ 25428 h 207197"/>
                <a:gd name="connsiteX9" fmla="*/ 300157 w 305426"/>
                <a:gd name="connsiteY9" fmla="*/ 207197 h 207197"/>
                <a:gd name="connsiteX0" fmla="*/ 301589 w 306858"/>
                <a:gd name="connsiteY0" fmla="*/ 228594 h 228594"/>
                <a:gd name="connsiteX1" fmla="*/ 273014 w 306858"/>
                <a:gd name="connsiteY1" fmla="*/ 154775 h 228594"/>
                <a:gd name="connsiteX2" fmla="*/ 196814 w 306858"/>
                <a:gd name="connsiteY2" fmla="*/ 145250 h 228594"/>
                <a:gd name="connsiteX3" fmla="*/ 53939 w 306858"/>
                <a:gd name="connsiteY3" fmla="*/ 138106 h 228594"/>
                <a:gd name="connsiteX4" fmla="*/ 44413 w 306858"/>
                <a:gd name="connsiteY4" fmla="*/ 159537 h 228594"/>
                <a:gd name="connsiteX5" fmla="*/ 13458 w 306858"/>
                <a:gd name="connsiteY5" fmla="*/ 204781 h 228594"/>
                <a:gd name="connsiteX6" fmla="*/ 1551 w 306858"/>
                <a:gd name="connsiteY6" fmla="*/ 209544 h 228594"/>
                <a:gd name="connsiteX7" fmla="*/ 35682 w 306858"/>
                <a:gd name="connsiteY7" fmla="*/ 9519 h 228594"/>
                <a:gd name="connsiteX8" fmla="*/ 238089 w 306858"/>
                <a:gd name="connsiteY8" fmla="*/ 46825 h 228594"/>
                <a:gd name="connsiteX9" fmla="*/ 301589 w 306858"/>
                <a:gd name="connsiteY9" fmla="*/ 228594 h 228594"/>
                <a:gd name="connsiteX0" fmla="*/ 309678 w 314947"/>
                <a:gd name="connsiteY0" fmla="*/ 254831 h 254831"/>
                <a:gd name="connsiteX1" fmla="*/ 281103 w 314947"/>
                <a:gd name="connsiteY1" fmla="*/ 181012 h 254831"/>
                <a:gd name="connsiteX2" fmla="*/ 204903 w 314947"/>
                <a:gd name="connsiteY2" fmla="*/ 171487 h 254831"/>
                <a:gd name="connsiteX3" fmla="*/ 62028 w 314947"/>
                <a:gd name="connsiteY3" fmla="*/ 164343 h 254831"/>
                <a:gd name="connsiteX4" fmla="*/ 52502 w 314947"/>
                <a:gd name="connsiteY4" fmla="*/ 185774 h 254831"/>
                <a:gd name="connsiteX5" fmla="*/ 21547 w 314947"/>
                <a:gd name="connsiteY5" fmla="*/ 231018 h 254831"/>
                <a:gd name="connsiteX6" fmla="*/ 9640 w 314947"/>
                <a:gd name="connsiteY6" fmla="*/ 235781 h 254831"/>
                <a:gd name="connsiteX7" fmla="*/ 43771 w 314947"/>
                <a:gd name="connsiteY7" fmla="*/ 35756 h 254831"/>
                <a:gd name="connsiteX8" fmla="*/ 246178 w 314947"/>
                <a:gd name="connsiteY8" fmla="*/ 73062 h 254831"/>
                <a:gd name="connsiteX9" fmla="*/ 309678 w 314947"/>
                <a:gd name="connsiteY9" fmla="*/ 254831 h 254831"/>
                <a:gd name="connsiteX0" fmla="*/ 322378 w 324871"/>
                <a:gd name="connsiteY0" fmla="*/ 280231 h 280231"/>
                <a:gd name="connsiteX1" fmla="*/ 281103 w 324871"/>
                <a:gd name="connsiteY1" fmla="*/ 181012 h 280231"/>
                <a:gd name="connsiteX2" fmla="*/ 204903 w 324871"/>
                <a:gd name="connsiteY2" fmla="*/ 171487 h 280231"/>
                <a:gd name="connsiteX3" fmla="*/ 62028 w 324871"/>
                <a:gd name="connsiteY3" fmla="*/ 164343 h 280231"/>
                <a:gd name="connsiteX4" fmla="*/ 52502 w 324871"/>
                <a:gd name="connsiteY4" fmla="*/ 185774 h 280231"/>
                <a:gd name="connsiteX5" fmla="*/ 21547 w 324871"/>
                <a:gd name="connsiteY5" fmla="*/ 231018 h 280231"/>
                <a:gd name="connsiteX6" fmla="*/ 9640 w 324871"/>
                <a:gd name="connsiteY6" fmla="*/ 235781 h 280231"/>
                <a:gd name="connsiteX7" fmla="*/ 43771 w 324871"/>
                <a:gd name="connsiteY7" fmla="*/ 35756 h 280231"/>
                <a:gd name="connsiteX8" fmla="*/ 246178 w 324871"/>
                <a:gd name="connsiteY8" fmla="*/ 73062 h 280231"/>
                <a:gd name="connsiteX9" fmla="*/ 322378 w 324871"/>
                <a:gd name="connsiteY9" fmla="*/ 280231 h 280231"/>
                <a:gd name="connsiteX0" fmla="*/ 322378 w 335881"/>
                <a:gd name="connsiteY0" fmla="*/ 280231 h 280231"/>
                <a:gd name="connsiteX1" fmla="*/ 281103 w 335881"/>
                <a:gd name="connsiteY1" fmla="*/ 181012 h 280231"/>
                <a:gd name="connsiteX2" fmla="*/ 204903 w 335881"/>
                <a:gd name="connsiteY2" fmla="*/ 171487 h 280231"/>
                <a:gd name="connsiteX3" fmla="*/ 62028 w 335881"/>
                <a:gd name="connsiteY3" fmla="*/ 164343 h 280231"/>
                <a:gd name="connsiteX4" fmla="*/ 52502 w 335881"/>
                <a:gd name="connsiteY4" fmla="*/ 185774 h 280231"/>
                <a:gd name="connsiteX5" fmla="*/ 21547 w 335881"/>
                <a:gd name="connsiteY5" fmla="*/ 231018 h 280231"/>
                <a:gd name="connsiteX6" fmla="*/ 9640 w 335881"/>
                <a:gd name="connsiteY6" fmla="*/ 235781 h 280231"/>
                <a:gd name="connsiteX7" fmla="*/ 43771 w 335881"/>
                <a:gd name="connsiteY7" fmla="*/ 35756 h 280231"/>
                <a:gd name="connsiteX8" fmla="*/ 246178 w 335881"/>
                <a:gd name="connsiteY8" fmla="*/ 73062 h 280231"/>
                <a:gd name="connsiteX9" fmla="*/ 322378 w 335881"/>
                <a:gd name="connsiteY9" fmla="*/ 280231 h 280231"/>
                <a:gd name="connsiteX0" fmla="*/ 320006 w 333509"/>
                <a:gd name="connsiteY0" fmla="*/ 256912 h 256912"/>
                <a:gd name="connsiteX1" fmla="*/ 278731 w 333509"/>
                <a:gd name="connsiteY1" fmla="*/ 157693 h 256912"/>
                <a:gd name="connsiteX2" fmla="*/ 202531 w 333509"/>
                <a:gd name="connsiteY2" fmla="*/ 148168 h 256912"/>
                <a:gd name="connsiteX3" fmla="*/ 59656 w 333509"/>
                <a:gd name="connsiteY3" fmla="*/ 141024 h 256912"/>
                <a:gd name="connsiteX4" fmla="*/ 50130 w 333509"/>
                <a:gd name="connsiteY4" fmla="*/ 162455 h 256912"/>
                <a:gd name="connsiteX5" fmla="*/ 19175 w 333509"/>
                <a:gd name="connsiteY5" fmla="*/ 207699 h 256912"/>
                <a:gd name="connsiteX6" fmla="*/ 918 w 333509"/>
                <a:gd name="connsiteY6" fmla="*/ 253737 h 256912"/>
                <a:gd name="connsiteX7" fmla="*/ 41399 w 333509"/>
                <a:gd name="connsiteY7" fmla="*/ 12437 h 256912"/>
                <a:gd name="connsiteX8" fmla="*/ 243806 w 333509"/>
                <a:gd name="connsiteY8" fmla="*/ 49743 h 256912"/>
                <a:gd name="connsiteX9" fmla="*/ 320006 w 333509"/>
                <a:gd name="connsiteY9" fmla="*/ 256912 h 256912"/>
                <a:gd name="connsiteX0" fmla="*/ 340397 w 353900"/>
                <a:gd name="connsiteY0" fmla="*/ 256912 h 256912"/>
                <a:gd name="connsiteX1" fmla="*/ 299122 w 353900"/>
                <a:gd name="connsiteY1" fmla="*/ 157693 h 256912"/>
                <a:gd name="connsiteX2" fmla="*/ 222922 w 353900"/>
                <a:gd name="connsiteY2" fmla="*/ 148168 h 256912"/>
                <a:gd name="connsiteX3" fmla="*/ 80047 w 353900"/>
                <a:gd name="connsiteY3" fmla="*/ 141024 h 256912"/>
                <a:gd name="connsiteX4" fmla="*/ 70521 w 353900"/>
                <a:gd name="connsiteY4" fmla="*/ 162455 h 256912"/>
                <a:gd name="connsiteX5" fmla="*/ 39566 w 353900"/>
                <a:gd name="connsiteY5" fmla="*/ 207699 h 256912"/>
                <a:gd name="connsiteX6" fmla="*/ 21309 w 353900"/>
                <a:gd name="connsiteY6" fmla="*/ 253737 h 256912"/>
                <a:gd name="connsiteX7" fmla="*/ 61790 w 353900"/>
                <a:gd name="connsiteY7" fmla="*/ 12437 h 256912"/>
                <a:gd name="connsiteX8" fmla="*/ 264197 w 353900"/>
                <a:gd name="connsiteY8" fmla="*/ 49743 h 256912"/>
                <a:gd name="connsiteX9" fmla="*/ 340397 w 353900"/>
                <a:gd name="connsiteY9" fmla="*/ 256912 h 256912"/>
                <a:gd name="connsiteX0" fmla="*/ 351275 w 364778"/>
                <a:gd name="connsiteY0" fmla="*/ 283264 h 283264"/>
                <a:gd name="connsiteX1" fmla="*/ 310000 w 364778"/>
                <a:gd name="connsiteY1" fmla="*/ 184045 h 283264"/>
                <a:gd name="connsiteX2" fmla="*/ 233800 w 364778"/>
                <a:gd name="connsiteY2" fmla="*/ 174520 h 283264"/>
                <a:gd name="connsiteX3" fmla="*/ 90925 w 364778"/>
                <a:gd name="connsiteY3" fmla="*/ 167376 h 283264"/>
                <a:gd name="connsiteX4" fmla="*/ 81399 w 364778"/>
                <a:gd name="connsiteY4" fmla="*/ 188807 h 283264"/>
                <a:gd name="connsiteX5" fmla="*/ 50444 w 364778"/>
                <a:gd name="connsiteY5" fmla="*/ 234051 h 283264"/>
                <a:gd name="connsiteX6" fmla="*/ 32187 w 364778"/>
                <a:gd name="connsiteY6" fmla="*/ 280089 h 283264"/>
                <a:gd name="connsiteX7" fmla="*/ 72668 w 364778"/>
                <a:gd name="connsiteY7" fmla="*/ 38789 h 283264"/>
                <a:gd name="connsiteX8" fmla="*/ 275075 w 364778"/>
                <a:gd name="connsiteY8" fmla="*/ 76095 h 283264"/>
                <a:gd name="connsiteX9" fmla="*/ 351275 w 364778"/>
                <a:gd name="connsiteY9" fmla="*/ 283264 h 283264"/>
                <a:gd name="connsiteX0" fmla="*/ 351275 w 374648"/>
                <a:gd name="connsiteY0" fmla="*/ 286181 h 286181"/>
                <a:gd name="connsiteX1" fmla="*/ 310000 w 374648"/>
                <a:gd name="connsiteY1" fmla="*/ 186962 h 286181"/>
                <a:gd name="connsiteX2" fmla="*/ 233800 w 374648"/>
                <a:gd name="connsiteY2" fmla="*/ 177437 h 286181"/>
                <a:gd name="connsiteX3" fmla="*/ 90925 w 374648"/>
                <a:gd name="connsiteY3" fmla="*/ 170293 h 286181"/>
                <a:gd name="connsiteX4" fmla="*/ 81399 w 374648"/>
                <a:gd name="connsiteY4" fmla="*/ 191724 h 286181"/>
                <a:gd name="connsiteX5" fmla="*/ 50444 w 374648"/>
                <a:gd name="connsiteY5" fmla="*/ 236968 h 286181"/>
                <a:gd name="connsiteX6" fmla="*/ 32187 w 374648"/>
                <a:gd name="connsiteY6" fmla="*/ 283006 h 286181"/>
                <a:gd name="connsiteX7" fmla="*/ 72668 w 374648"/>
                <a:gd name="connsiteY7" fmla="*/ 41706 h 286181"/>
                <a:gd name="connsiteX8" fmla="*/ 307978 w 374648"/>
                <a:gd name="connsiteY8" fmla="*/ 66435 h 286181"/>
                <a:gd name="connsiteX9" fmla="*/ 351275 w 374648"/>
                <a:gd name="connsiteY9" fmla="*/ 286181 h 286181"/>
                <a:gd name="connsiteX0" fmla="*/ 351275 w 366478"/>
                <a:gd name="connsiteY0" fmla="*/ 289222 h 289222"/>
                <a:gd name="connsiteX1" fmla="*/ 310000 w 366478"/>
                <a:gd name="connsiteY1" fmla="*/ 190003 h 289222"/>
                <a:gd name="connsiteX2" fmla="*/ 233800 w 366478"/>
                <a:gd name="connsiteY2" fmla="*/ 180478 h 289222"/>
                <a:gd name="connsiteX3" fmla="*/ 90925 w 366478"/>
                <a:gd name="connsiteY3" fmla="*/ 173334 h 289222"/>
                <a:gd name="connsiteX4" fmla="*/ 81399 w 366478"/>
                <a:gd name="connsiteY4" fmla="*/ 194765 h 289222"/>
                <a:gd name="connsiteX5" fmla="*/ 50444 w 366478"/>
                <a:gd name="connsiteY5" fmla="*/ 240009 h 289222"/>
                <a:gd name="connsiteX6" fmla="*/ 32187 w 366478"/>
                <a:gd name="connsiteY6" fmla="*/ 286047 h 289222"/>
                <a:gd name="connsiteX7" fmla="*/ 72668 w 366478"/>
                <a:gd name="connsiteY7" fmla="*/ 44747 h 289222"/>
                <a:gd name="connsiteX8" fmla="*/ 282618 w 366478"/>
                <a:gd name="connsiteY8" fmla="*/ 57997 h 289222"/>
                <a:gd name="connsiteX9" fmla="*/ 351275 w 366478"/>
                <a:gd name="connsiteY9" fmla="*/ 289222 h 289222"/>
                <a:gd name="connsiteX0" fmla="*/ 351275 w 362099"/>
                <a:gd name="connsiteY0" fmla="*/ 289222 h 289222"/>
                <a:gd name="connsiteX1" fmla="*/ 310000 w 362099"/>
                <a:gd name="connsiteY1" fmla="*/ 190003 h 289222"/>
                <a:gd name="connsiteX2" fmla="*/ 233800 w 362099"/>
                <a:gd name="connsiteY2" fmla="*/ 180478 h 289222"/>
                <a:gd name="connsiteX3" fmla="*/ 90925 w 362099"/>
                <a:gd name="connsiteY3" fmla="*/ 173334 h 289222"/>
                <a:gd name="connsiteX4" fmla="*/ 81399 w 362099"/>
                <a:gd name="connsiteY4" fmla="*/ 194765 h 289222"/>
                <a:gd name="connsiteX5" fmla="*/ 50444 w 362099"/>
                <a:gd name="connsiteY5" fmla="*/ 240009 h 289222"/>
                <a:gd name="connsiteX6" fmla="*/ 32187 w 362099"/>
                <a:gd name="connsiteY6" fmla="*/ 286047 h 289222"/>
                <a:gd name="connsiteX7" fmla="*/ 72668 w 362099"/>
                <a:gd name="connsiteY7" fmla="*/ 44747 h 289222"/>
                <a:gd name="connsiteX8" fmla="*/ 282618 w 362099"/>
                <a:gd name="connsiteY8" fmla="*/ 57997 h 289222"/>
                <a:gd name="connsiteX9" fmla="*/ 351275 w 362099"/>
                <a:gd name="connsiteY9" fmla="*/ 289222 h 289222"/>
                <a:gd name="connsiteX0" fmla="*/ 351275 w 362099"/>
                <a:gd name="connsiteY0" fmla="*/ 293611 h 293611"/>
                <a:gd name="connsiteX1" fmla="*/ 310000 w 362099"/>
                <a:gd name="connsiteY1" fmla="*/ 194392 h 293611"/>
                <a:gd name="connsiteX2" fmla="*/ 233800 w 362099"/>
                <a:gd name="connsiteY2" fmla="*/ 184867 h 293611"/>
                <a:gd name="connsiteX3" fmla="*/ 90925 w 362099"/>
                <a:gd name="connsiteY3" fmla="*/ 177723 h 293611"/>
                <a:gd name="connsiteX4" fmla="*/ 81399 w 362099"/>
                <a:gd name="connsiteY4" fmla="*/ 199154 h 293611"/>
                <a:gd name="connsiteX5" fmla="*/ 50444 w 362099"/>
                <a:gd name="connsiteY5" fmla="*/ 244398 h 293611"/>
                <a:gd name="connsiteX6" fmla="*/ 32187 w 362099"/>
                <a:gd name="connsiteY6" fmla="*/ 290436 h 293611"/>
                <a:gd name="connsiteX7" fmla="*/ 72668 w 362099"/>
                <a:gd name="connsiteY7" fmla="*/ 49136 h 293611"/>
                <a:gd name="connsiteX8" fmla="*/ 282618 w 362099"/>
                <a:gd name="connsiteY8" fmla="*/ 62386 h 293611"/>
                <a:gd name="connsiteX9" fmla="*/ 351275 w 362099"/>
                <a:gd name="connsiteY9" fmla="*/ 293611 h 293611"/>
                <a:gd name="connsiteX0" fmla="*/ 351275 w 369395"/>
                <a:gd name="connsiteY0" fmla="*/ 299808 h 299808"/>
                <a:gd name="connsiteX1" fmla="*/ 310000 w 369395"/>
                <a:gd name="connsiteY1" fmla="*/ 200589 h 299808"/>
                <a:gd name="connsiteX2" fmla="*/ 233800 w 369395"/>
                <a:gd name="connsiteY2" fmla="*/ 191064 h 299808"/>
                <a:gd name="connsiteX3" fmla="*/ 90925 w 369395"/>
                <a:gd name="connsiteY3" fmla="*/ 183920 h 299808"/>
                <a:gd name="connsiteX4" fmla="*/ 81399 w 369395"/>
                <a:gd name="connsiteY4" fmla="*/ 205351 h 299808"/>
                <a:gd name="connsiteX5" fmla="*/ 50444 w 369395"/>
                <a:gd name="connsiteY5" fmla="*/ 250595 h 299808"/>
                <a:gd name="connsiteX6" fmla="*/ 32187 w 369395"/>
                <a:gd name="connsiteY6" fmla="*/ 296633 h 299808"/>
                <a:gd name="connsiteX7" fmla="*/ 72668 w 369395"/>
                <a:gd name="connsiteY7" fmla="*/ 55333 h 299808"/>
                <a:gd name="connsiteX8" fmla="*/ 314316 w 369395"/>
                <a:gd name="connsiteY8" fmla="*/ 51363 h 299808"/>
                <a:gd name="connsiteX9" fmla="*/ 351275 w 369395"/>
                <a:gd name="connsiteY9" fmla="*/ 299808 h 299808"/>
                <a:gd name="connsiteX0" fmla="*/ 351275 w 369395"/>
                <a:gd name="connsiteY0" fmla="*/ 296292 h 296292"/>
                <a:gd name="connsiteX1" fmla="*/ 310000 w 369395"/>
                <a:gd name="connsiteY1" fmla="*/ 197073 h 296292"/>
                <a:gd name="connsiteX2" fmla="*/ 233800 w 369395"/>
                <a:gd name="connsiteY2" fmla="*/ 187548 h 296292"/>
                <a:gd name="connsiteX3" fmla="*/ 90925 w 369395"/>
                <a:gd name="connsiteY3" fmla="*/ 180404 h 296292"/>
                <a:gd name="connsiteX4" fmla="*/ 81399 w 369395"/>
                <a:gd name="connsiteY4" fmla="*/ 201835 h 296292"/>
                <a:gd name="connsiteX5" fmla="*/ 50444 w 369395"/>
                <a:gd name="connsiteY5" fmla="*/ 247079 h 296292"/>
                <a:gd name="connsiteX6" fmla="*/ 32187 w 369395"/>
                <a:gd name="connsiteY6" fmla="*/ 293117 h 296292"/>
                <a:gd name="connsiteX7" fmla="*/ 72668 w 369395"/>
                <a:gd name="connsiteY7" fmla="*/ 51817 h 296292"/>
                <a:gd name="connsiteX8" fmla="*/ 314316 w 369395"/>
                <a:gd name="connsiteY8" fmla="*/ 47847 h 296292"/>
                <a:gd name="connsiteX9" fmla="*/ 351275 w 369395"/>
                <a:gd name="connsiteY9" fmla="*/ 296292 h 296292"/>
                <a:gd name="connsiteX0" fmla="*/ 351275 w 364876"/>
                <a:gd name="connsiteY0" fmla="*/ 296292 h 296292"/>
                <a:gd name="connsiteX1" fmla="*/ 310000 w 364876"/>
                <a:gd name="connsiteY1" fmla="*/ 197073 h 296292"/>
                <a:gd name="connsiteX2" fmla="*/ 233800 w 364876"/>
                <a:gd name="connsiteY2" fmla="*/ 187548 h 296292"/>
                <a:gd name="connsiteX3" fmla="*/ 90925 w 364876"/>
                <a:gd name="connsiteY3" fmla="*/ 180404 h 296292"/>
                <a:gd name="connsiteX4" fmla="*/ 81399 w 364876"/>
                <a:gd name="connsiteY4" fmla="*/ 201835 h 296292"/>
                <a:gd name="connsiteX5" fmla="*/ 50444 w 364876"/>
                <a:gd name="connsiteY5" fmla="*/ 247079 h 296292"/>
                <a:gd name="connsiteX6" fmla="*/ 32187 w 364876"/>
                <a:gd name="connsiteY6" fmla="*/ 293117 h 296292"/>
                <a:gd name="connsiteX7" fmla="*/ 72668 w 364876"/>
                <a:gd name="connsiteY7" fmla="*/ 51817 h 296292"/>
                <a:gd name="connsiteX8" fmla="*/ 314316 w 364876"/>
                <a:gd name="connsiteY8" fmla="*/ 47847 h 296292"/>
                <a:gd name="connsiteX9" fmla="*/ 351275 w 364876"/>
                <a:gd name="connsiteY9" fmla="*/ 296292 h 296292"/>
                <a:gd name="connsiteX0" fmla="*/ 351275 w 364876"/>
                <a:gd name="connsiteY0" fmla="*/ 296292 h 296292"/>
                <a:gd name="connsiteX1" fmla="*/ 310000 w 364876"/>
                <a:gd name="connsiteY1" fmla="*/ 197073 h 296292"/>
                <a:gd name="connsiteX2" fmla="*/ 233800 w 364876"/>
                <a:gd name="connsiteY2" fmla="*/ 187548 h 296292"/>
                <a:gd name="connsiteX3" fmla="*/ 90925 w 364876"/>
                <a:gd name="connsiteY3" fmla="*/ 180404 h 296292"/>
                <a:gd name="connsiteX4" fmla="*/ 81399 w 364876"/>
                <a:gd name="connsiteY4" fmla="*/ 201835 h 296292"/>
                <a:gd name="connsiteX5" fmla="*/ 50444 w 364876"/>
                <a:gd name="connsiteY5" fmla="*/ 247079 h 296292"/>
                <a:gd name="connsiteX6" fmla="*/ 32187 w 364876"/>
                <a:gd name="connsiteY6" fmla="*/ 293117 h 296292"/>
                <a:gd name="connsiteX7" fmla="*/ 72668 w 364876"/>
                <a:gd name="connsiteY7" fmla="*/ 51817 h 296292"/>
                <a:gd name="connsiteX8" fmla="*/ 314316 w 364876"/>
                <a:gd name="connsiteY8" fmla="*/ 47847 h 296292"/>
                <a:gd name="connsiteX9" fmla="*/ 351275 w 364876"/>
                <a:gd name="connsiteY9" fmla="*/ 296292 h 296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4876" h="296292">
                  <a:moveTo>
                    <a:pt x="351275" y="296292"/>
                  </a:moveTo>
                  <a:cubicBezTo>
                    <a:pt x="282218" y="259780"/>
                    <a:pt x="319525" y="221679"/>
                    <a:pt x="310000" y="197073"/>
                  </a:cubicBezTo>
                  <a:cubicBezTo>
                    <a:pt x="284600" y="205805"/>
                    <a:pt x="259200" y="190723"/>
                    <a:pt x="233800" y="187548"/>
                  </a:cubicBezTo>
                  <a:cubicBezTo>
                    <a:pt x="155219" y="213742"/>
                    <a:pt x="124262" y="199454"/>
                    <a:pt x="90925" y="180404"/>
                  </a:cubicBezTo>
                  <a:lnTo>
                    <a:pt x="81399" y="201835"/>
                  </a:lnTo>
                  <a:cubicBezTo>
                    <a:pt x="71081" y="216916"/>
                    <a:pt x="70287" y="253430"/>
                    <a:pt x="50444" y="247079"/>
                  </a:cubicBezTo>
                  <a:lnTo>
                    <a:pt x="32187" y="293117"/>
                  </a:lnTo>
                  <a:cubicBezTo>
                    <a:pt x="-18613" y="199454"/>
                    <a:pt x="-12263" y="146141"/>
                    <a:pt x="72668" y="51817"/>
                  </a:cubicBezTo>
                  <a:cubicBezTo>
                    <a:pt x="157599" y="-42507"/>
                    <a:pt x="265958" y="14324"/>
                    <a:pt x="314316" y="47847"/>
                  </a:cubicBezTo>
                  <a:cubicBezTo>
                    <a:pt x="358046" y="96698"/>
                    <a:pt x="381438" y="266130"/>
                    <a:pt x="351275" y="296292"/>
                  </a:cubicBezTo>
                  <a:close/>
                </a:path>
              </a:pathLst>
            </a:custGeom>
            <a:solidFill>
              <a:schemeClr val="accent3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 smtClean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7" name="Freeform 46"/>
            <p:cNvSpPr/>
            <p:nvPr/>
          </p:nvSpPr>
          <p:spPr bwMode="auto">
            <a:xfrm>
              <a:off x="9757348" y="4627289"/>
              <a:ext cx="513108" cy="609581"/>
            </a:xfrm>
            <a:custGeom>
              <a:avLst/>
              <a:gdLst>
                <a:gd name="connsiteX0" fmla="*/ 336550 w 825500"/>
                <a:gd name="connsiteY0" fmla="*/ 0 h 815975"/>
                <a:gd name="connsiteX1" fmla="*/ 415925 w 825500"/>
                <a:gd name="connsiteY1" fmla="*/ 574675 h 815975"/>
                <a:gd name="connsiteX2" fmla="*/ 492125 w 825500"/>
                <a:gd name="connsiteY2" fmla="*/ 3175 h 815975"/>
                <a:gd name="connsiteX3" fmla="*/ 676275 w 825500"/>
                <a:gd name="connsiteY3" fmla="*/ 19050 h 815975"/>
                <a:gd name="connsiteX4" fmla="*/ 825500 w 825500"/>
                <a:gd name="connsiteY4" fmla="*/ 654050 h 815975"/>
                <a:gd name="connsiteX5" fmla="*/ 717550 w 825500"/>
                <a:gd name="connsiteY5" fmla="*/ 657225 h 815975"/>
                <a:gd name="connsiteX6" fmla="*/ 676275 w 825500"/>
                <a:gd name="connsiteY6" fmla="*/ 285750 h 815975"/>
                <a:gd name="connsiteX7" fmla="*/ 638175 w 825500"/>
                <a:gd name="connsiteY7" fmla="*/ 815975 h 815975"/>
                <a:gd name="connsiteX8" fmla="*/ 187325 w 825500"/>
                <a:gd name="connsiteY8" fmla="*/ 815975 h 815975"/>
                <a:gd name="connsiteX9" fmla="*/ 171450 w 825500"/>
                <a:gd name="connsiteY9" fmla="*/ 285750 h 815975"/>
                <a:gd name="connsiteX10" fmla="*/ 98425 w 825500"/>
                <a:gd name="connsiteY10" fmla="*/ 657225 h 815975"/>
                <a:gd name="connsiteX11" fmla="*/ 0 w 825500"/>
                <a:gd name="connsiteY11" fmla="*/ 657225 h 815975"/>
                <a:gd name="connsiteX12" fmla="*/ 149225 w 825500"/>
                <a:gd name="connsiteY12" fmla="*/ 28575 h 815975"/>
                <a:gd name="connsiteX13" fmla="*/ 336550 w 825500"/>
                <a:gd name="connsiteY13" fmla="*/ 0 h 815975"/>
                <a:gd name="connsiteX0" fmla="*/ 336550 w 825500"/>
                <a:gd name="connsiteY0" fmla="*/ 0 h 815975"/>
                <a:gd name="connsiteX1" fmla="*/ 415925 w 825500"/>
                <a:gd name="connsiteY1" fmla="*/ 574675 h 815975"/>
                <a:gd name="connsiteX2" fmla="*/ 492125 w 825500"/>
                <a:gd name="connsiteY2" fmla="*/ 3175 h 815975"/>
                <a:gd name="connsiteX3" fmla="*/ 676275 w 825500"/>
                <a:gd name="connsiteY3" fmla="*/ 19050 h 815975"/>
                <a:gd name="connsiteX4" fmla="*/ 825500 w 825500"/>
                <a:gd name="connsiteY4" fmla="*/ 654050 h 815975"/>
                <a:gd name="connsiteX5" fmla="*/ 717550 w 825500"/>
                <a:gd name="connsiteY5" fmla="*/ 657225 h 815975"/>
                <a:gd name="connsiteX6" fmla="*/ 676275 w 825500"/>
                <a:gd name="connsiteY6" fmla="*/ 285750 h 815975"/>
                <a:gd name="connsiteX7" fmla="*/ 638175 w 825500"/>
                <a:gd name="connsiteY7" fmla="*/ 815975 h 815975"/>
                <a:gd name="connsiteX8" fmla="*/ 187325 w 825500"/>
                <a:gd name="connsiteY8" fmla="*/ 815975 h 815975"/>
                <a:gd name="connsiteX9" fmla="*/ 171450 w 825500"/>
                <a:gd name="connsiteY9" fmla="*/ 285750 h 815975"/>
                <a:gd name="connsiteX10" fmla="*/ 98425 w 825500"/>
                <a:gd name="connsiteY10" fmla="*/ 657225 h 815975"/>
                <a:gd name="connsiteX11" fmla="*/ 0 w 825500"/>
                <a:gd name="connsiteY11" fmla="*/ 657225 h 815975"/>
                <a:gd name="connsiteX12" fmla="*/ 149225 w 825500"/>
                <a:gd name="connsiteY12" fmla="*/ 28575 h 815975"/>
                <a:gd name="connsiteX13" fmla="*/ 336550 w 825500"/>
                <a:gd name="connsiteY13" fmla="*/ 0 h 815975"/>
                <a:gd name="connsiteX0" fmla="*/ 336550 w 825500"/>
                <a:gd name="connsiteY0" fmla="*/ 0 h 815975"/>
                <a:gd name="connsiteX1" fmla="*/ 415925 w 825500"/>
                <a:gd name="connsiteY1" fmla="*/ 574675 h 815975"/>
                <a:gd name="connsiteX2" fmla="*/ 492125 w 825500"/>
                <a:gd name="connsiteY2" fmla="*/ 3175 h 815975"/>
                <a:gd name="connsiteX3" fmla="*/ 676275 w 825500"/>
                <a:gd name="connsiteY3" fmla="*/ 19050 h 815975"/>
                <a:gd name="connsiteX4" fmla="*/ 825500 w 825500"/>
                <a:gd name="connsiteY4" fmla="*/ 654050 h 815975"/>
                <a:gd name="connsiteX5" fmla="*/ 717550 w 825500"/>
                <a:gd name="connsiteY5" fmla="*/ 657225 h 815975"/>
                <a:gd name="connsiteX6" fmla="*/ 676275 w 825500"/>
                <a:gd name="connsiteY6" fmla="*/ 285750 h 815975"/>
                <a:gd name="connsiteX7" fmla="*/ 638175 w 825500"/>
                <a:gd name="connsiteY7" fmla="*/ 815975 h 815975"/>
                <a:gd name="connsiteX8" fmla="*/ 187325 w 825500"/>
                <a:gd name="connsiteY8" fmla="*/ 815975 h 815975"/>
                <a:gd name="connsiteX9" fmla="*/ 171450 w 825500"/>
                <a:gd name="connsiteY9" fmla="*/ 285750 h 815975"/>
                <a:gd name="connsiteX10" fmla="*/ 98425 w 825500"/>
                <a:gd name="connsiteY10" fmla="*/ 657225 h 815975"/>
                <a:gd name="connsiteX11" fmla="*/ 0 w 825500"/>
                <a:gd name="connsiteY11" fmla="*/ 657225 h 815975"/>
                <a:gd name="connsiteX12" fmla="*/ 149225 w 825500"/>
                <a:gd name="connsiteY12" fmla="*/ 28575 h 815975"/>
                <a:gd name="connsiteX13" fmla="*/ 336550 w 825500"/>
                <a:gd name="connsiteY13" fmla="*/ 0 h 815975"/>
                <a:gd name="connsiteX0" fmla="*/ 336550 w 825500"/>
                <a:gd name="connsiteY0" fmla="*/ 0 h 815975"/>
                <a:gd name="connsiteX1" fmla="*/ 415925 w 825500"/>
                <a:gd name="connsiteY1" fmla="*/ 574675 h 815975"/>
                <a:gd name="connsiteX2" fmla="*/ 492125 w 825500"/>
                <a:gd name="connsiteY2" fmla="*/ 3175 h 815975"/>
                <a:gd name="connsiteX3" fmla="*/ 676275 w 825500"/>
                <a:gd name="connsiteY3" fmla="*/ 19050 h 815975"/>
                <a:gd name="connsiteX4" fmla="*/ 825500 w 825500"/>
                <a:gd name="connsiteY4" fmla="*/ 654050 h 815975"/>
                <a:gd name="connsiteX5" fmla="*/ 717550 w 825500"/>
                <a:gd name="connsiteY5" fmla="*/ 657225 h 815975"/>
                <a:gd name="connsiteX6" fmla="*/ 676275 w 825500"/>
                <a:gd name="connsiteY6" fmla="*/ 285750 h 815975"/>
                <a:gd name="connsiteX7" fmla="*/ 638175 w 825500"/>
                <a:gd name="connsiteY7" fmla="*/ 815975 h 815975"/>
                <a:gd name="connsiteX8" fmla="*/ 187325 w 825500"/>
                <a:gd name="connsiteY8" fmla="*/ 815975 h 815975"/>
                <a:gd name="connsiteX9" fmla="*/ 171450 w 825500"/>
                <a:gd name="connsiteY9" fmla="*/ 285750 h 815975"/>
                <a:gd name="connsiteX10" fmla="*/ 98425 w 825500"/>
                <a:gd name="connsiteY10" fmla="*/ 657225 h 815975"/>
                <a:gd name="connsiteX11" fmla="*/ 0 w 825500"/>
                <a:gd name="connsiteY11" fmla="*/ 657225 h 815975"/>
                <a:gd name="connsiteX12" fmla="*/ 149225 w 825500"/>
                <a:gd name="connsiteY12" fmla="*/ 28575 h 815975"/>
                <a:gd name="connsiteX13" fmla="*/ 336550 w 825500"/>
                <a:gd name="connsiteY13" fmla="*/ 0 h 815975"/>
                <a:gd name="connsiteX0" fmla="*/ 336550 w 825500"/>
                <a:gd name="connsiteY0" fmla="*/ 0 h 815975"/>
                <a:gd name="connsiteX1" fmla="*/ 415925 w 825500"/>
                <a:gd name="connsiteY1" fmla="*/ 574675 h 815975"/>
                <a:gd name="connsiteX2" fmla="*/ 492125 w 825500"/>
                <a:gd name="connsiteY2" fmla="*/ 3175 h 815975"/>
                <a:gd name="connsiteX3" fmla="*/ 676275 w 825500"/>
                <a:gd name="connsiteY3" fmla="*/ 19050 h 815975"/>
                <a:gd name="connsiteX4" fmla="*/ 825500 w 825500"/>
                <a:gd name="connsiteY4" fmla="*/ 654050 h 815975"/>
                <a:gd name="connsiteX5" fmla="*/ 717550 w 825500"/>
                <a:gd name="connsiteY5" fmla="*/ 657225 h 815975"/>
                <a:gd name="connsiteX6" fmla="*/ 676275 w 825500"/>
                <a:gd name="connsiteY6" fmla="*/ 285750 h 815975"/>
                <a:gd name="connsiteX7" fmla="*/ 638175 w 825500"/>
                <a:gd name="connsiteY7" fmla="*/ 815975 h 815975"/>
                <a:gd name="connsiteX8" fmla="*/ 187325 w 825500"/>
                <a:gd name="connsiteY8" fmla="*/ 815975 h 815975"/>
                <a:gd name="connsiteX9" fmla="*/ 171450 w 825500"/>
                <a:gd name="connsiteY9" fmla="*/ 285750 h 815975"/>
                <a:gd name="connsiteX10" fmla="*/ 98425 w 825500"/>
                <a:gd name="connsiteY10" fmla="*/ 657225 h 815975"/>
                <a:gd name="connsiteX11" fmla="*/ 0 w 825500"/>
                <a:gd name="connsiteY11" fmla="*/ 657225 h 815975"/>
                <a:gd name="connsiteX12" fmla="*/ 149225 w 825500"/>
                <a:gd name="connsiteY12" fmla="*/ 28575 h 815975"/>
                <a:gd name="connsiteX13" fmla="*/ 336550 w 825500"/>
                <a:gd name="connsiteY13" fmla="*/ 0 h 815975"/>
                <a:gd name="connsiteX0" fmla="*/ 336550 w 825500"/>
                <a:gd name="connsiteY0" fmla="*/ 0 h 815975"/>
                <a:gd name="connsiteX1" fmla="*/ 415925 w 825500"/>
                <a:gd name="connsiteY1" fmla="*/ 574675 h 815975"/>
                <a:gd name="connsiteX2" fmla="*/ 492125 w 825500"/>
                <a:gd name="connsiteY2" fmla="*/ 3175 h 815975"/>
                <a:gd name="connsiteX3" fmla="*/ 676275 w 825500"/>
                <a:gd name="connsiteY3" fmla="*/ 19050 h 815975"/>
                <a:gd name="connsiteX4" fmla="*/ 825500 w 825500"/>
                <a:gd name="connsiteY4" fmla="*/ 654050 h 815975"/>
                <a:gd name="connsiteX5" fmla="*/ 717550 w 825500"/>
                <a:gd name="connsiteY5" fmla="*/ 657225 h 815975"/>
                <a:gd name="connsiteX6" fmla="*/ 666750 w 825500"/>
                <a:gd name="connsiteY6" fmla="*/ 285750 h 815975"/>
                <a:gd name="connsiteX7" fmla="*/ 638175 w 825500"/>
                <a:gd name="connsiteY7" fmla="*/ 815975 h 815975"/>
                <a:gd name="connsiteX8" fmla="*/ 187325 w 825500"/>
                <a:gd name="connsiteY8" fmla="*/ 815975 h 815975"/>
                <a:gd name="connsiteX9" fmla="*/ 171450 w 825500"/>
                <a:gd name="connsiteY9" fmla="*/ 285750 h 815975"/>
                <a:gd name="connsiteX10" fmla="*/ 98425 w 825500"/>
                <a:gd name="connsiteY10" fmla="*/ 657225 h 815975"/>
                <a:gd name="connsiteX11" fmla="*/ 0 w 825500"/>
                <a:gd name="connsiteY11" fmla="*/ 657225 h 815975"/>
                <a:gd name="connsiteX12" fmla="*/ 149225 w 825500"/>
                <a:gd name="connsiteY12" fmla="*/ 28575 h 815975"/>
                <a:gd name="connsiteX13" fmla="*/ 336550 w 825500"/>
                <a:gd name="connsiteY13" fmla="*/ 0 h 815975"/>
                <a:gd name="connsiteX0" fmla="*/ 336550 w 825500"/>
                <a:gd name="connsiteY0" fmla="*/ 0 h 815975"/>
                <a:gd name="connsiteX1" fmla="*/ 415925 w 825500"/>
                <a:gd name="connsiteY1" fmla="*/ 574675 h 815975"/>
                <a:gd name="connsiteX2" fmla="*/ 492125 w 825500"/>
                <a:gd name="connsiteY2" fmla="*/ 3175 h 815975"/>
                <a:gd name="connsiteX3" fmla="*/ 676275 w 825500"/>
                <a:gd name="connsiteY3" fmla="*/ 19050 h 815975"/>
                <a:gd name="connsiteX4" fmla="*/ 825500 w 825500"/>
                <a:gd name="connsiteY4" fmla="*/ 654050 h 815975"/>
                <a:gd name="connsiteX5" fmla="*/ 717550 w 825500"/>
                <a:gd name="connsiteY5" fmla="*/ 657225 h 815975"/>
                <a:gd name="connsiteX6" fmla="*/ 666750 w 825500"/>
                <a:gd name="connsiteY6" fmla="*/ 285750 h 815975"/>
                <a:gd name="connsiteX7" fmla="*/ 638175 w 825500"/>
                <a:gd name="connsiteY7" fmla="*/ 815975 h 815975"/>
                <a:gd name="connsiteX8" fmla="*/ 187325 w 825500"/>
                <a:gd name="connsiteY8" fmla="*/ 815975 h 815975"/>
                <a:gd name="connsiteX9" fmla="*/ 171450 w 825500"/>
                <a:gd name="connsiteY9" fmla="*/ 285750 h 815975"/>
                <a:gd name="connsiteX10" fmla="*/ 98425 w 825500"/>
                <a:gd name="connsiteY10" fmla="*/ 657225 h 815975"/>
                <a:gd name="connsiteX11" fmla="*/ 0 w 825500"/>
                <a:gd name="connsiteY11" fmla="*/ 657225 h 815975"/>
                <a:gd name="connsiteX12" fmla="*/ 149225 w 825500"/>
                <a:gd name="connsiteY12" fmla="*/ 28575 h 815975"/>
                <a:gd name="connsiteX13" fmla="*/ 336550 w 825500"/>
                <a:gd name="connsiteY13" fmla="*/ 0 h 815975"/>
                <a:gd name="connsiteX0" fmla="*/ 336550 w 825500"/>
                <a:gd name="connsiteY0" fmla="*/ 0 h 815975"/>
                <a:gd name="connsiteX1" fmla="*/ 415925 w 825500"/>
                <a:gd name="connsiteY1" fmla="*/ 574675 h 815975"/>
                <a:gd name="connsiteX2" fmla="*/ 492125 w 825500"/>
                <a:gd name="connsiteY2" fmla="*/ 3175 h 815975"/>
                <a:gd name="connsiteX3" fmla="*/ 676275 w 825500"/>
                <a:gd name="connsiteY3" fmla="*/ 19050 h 815975"/>
                <a:gd name="connsiteX4" fmla="*/ 825500 w 825500"/>
                <a:gd name="connsiteY4" fmla="*/ 654050 h 815975"/>
                <a:gd name="connsiteX5" fmla="*/ 717550 w 825500"/>
                <a:gd name="connsiteY5" fmla="*/ 657225 h 815975"/>
                <a:gd name="connsiteX6" fmla="*/ 666750 w 825500"/>
                <a:gd name="connsiteY6" fmla="*/ 285750 h 815975"/>
                <a:gd name="connsiteX7" fmla="*/ 638175 w 825500"/>
                <a:gd name="connsiteY7" fmla="*/ 815975 h 815975"/>
                <a:gd name="connsiteX8" fmla="*/ 187325 w 825500"/>
                <a:gd name="connsiteY8" fmla="*/ 815975 h 815975"/>
                <a:gd name="connsiteX9" fmla="*/ 171450 w 825500"/>
                <a:gd name="connsiteY9" fmla="*/ 285750 h 815975"/>
                <a:gd name="connsiteX10" fmla="*/ 98425 w 825500"/>
                <a:gd name="connsiteY10" fmla="*/ 657225 h 815975"/>
                <a:gd name="connsiteX11" fmla="*/ 0 w 825500"/>
                <a:gd name="connsiteY11" fmla="*/ 657225 h 815975"/>
                <a:gd name="connsiteX12" fmla="*/ 149225 w 825500"/>
                <a:gd name="connsiteY12" fmla="*/ 28575 h 815975"/>
                <a:gd name="connsiteX13" fmla="*/ 336550 w 825500"/>
                <a:gd name="connsiteY13" fmla="*/ 0 h 815975"/>
                <a:gd name="connsiteX0" fmla="*/ 336550 w 825500"/>
                <a:gd name="connsiteY0" fmla="*/ 0 h 815975"/>
                <a:gd name="connsiteX1" fmla="*/ 415925 w 825500"/>
                <a:gd name="connsiteY1" fmla="*/ 574675 h 815975"/>
                <a:gd name="connsiteX2" fmla="*/ 492125 w 825500"/>
                <a:gd name="connsiteY2" fmla="*/ 3175 h 815975"/>
                <a:gd name="connsiteX3" fmla="*/ 676275 w 825500"/>
                <a:gd name="connsiteY3" fmla="*/ 19050 h 815975"/>
                <a:gd name="connsiteX4" fmla="*/ 825500 w 825500"/>
                <a:gd name="connsiteY4" fmla="*/ 654050 h 815975"/>
                <a:gd name="connsiteX5" fmla="*/ 717550 w 825500"/>
                <a:gd name="connsiteY5" fmla="*/ 657225 h 815975"/>
                <a:gd name="connsiteX6" fmla="*/ 666750 w 825500"/>
                <a:gd name="connsiteY6" fmla="*/ 285750 h 815975"/>
                <a:gd name="connsiteX7" fmla="*/ 638175 w 825500"/>
                <a:gd name="connsiteY7" fmla="*/ 815975 h 815975"/>
                <a:gd name="connsiteX8" fmla="*/ 187325 w 825500"/>
                <a:gd name="connsiteY8" fmla="*/ 815975 h 815975"/>
                <a:gd name="connsiteX9" fmla="*/ 171450 w 825500"/>
                <a:gd name="connsiteY9" fmla="*/ 285750 h 815975"/>
                <a:gd name="connsiteX10" fmla="*/ 98425 w 825500"/>
                <a:gd name="connsiteY10" fmla="*/ 657225 h 815975"/>
                <a:gd name="connsiteX11" fmla="*/ 0 w 825500"/>
                <a:gd name="connsiteY11" fmla="*/ 657225 h 815975"/>
                <a:gd name="connsiteX12" fmla="*/ 149225 w 825500"/>
                <a:gd name="connsiteY12" fmla="*/ 28575 h 815975"/>
                <a:gd name="connsiteX13" fmla="*/ 336550 w 825500"/>
                <a:gd name="connsiteY13" fmla="*/ 0 h 815975"/>
                <a:gd name="connsiteX0" fmla="*/ 336550 w 825500"/>
                <a:gd name="connsiteY0" fmla="*/ 0 h 815975"/>
                <a:gd name="connsiteX1" fmla="*/ 415925 w 825500"/>
                <a:gd name="connsiteY1" fmla="*/ 574675 h 815975"/>
                <a:gd name="connsiteX2" fmla="*/ 492125 w 825500"/>
                <a:gd name="connsiteY2" fmla="*/ 3175 h 815975"/>
                <a:gd name="connsiteX3" fmla="*/ 676275 w 825500"/>
                <a:gd name="connsiteY3" fmla="*/ 19050 h 815975"/>
                <a:gd name="connsiteX4" fmla="*/ 825500 w 825500"/>
                <a:gd name="connsiteY4" fmla="*/ 654050 h 815975"/>
                <a:gd name="connsiteX5" fmla="*/ 717550 w 825500"/>
                <a:gd name="connsiteY5" fmla="*/ 657225 h 815975"/>
                <a:gd name="connsiteX6" fmla="*/ 666750 w 825500"/>
                <a:gd name="connsiteY6" fmla="*/ 285750 h 815975"/>
                <a:gd name="connsiteX7" fmla="*/ 638175 w 825500"/>
                <a:gd name="connsiteY7" fmla="*/ 815975 h 815975"/>
                <a:gd name="connsiteX8" fmla="*/ 187325 w 825500"/>
                <a:gd name="connsiteY8" fmla="*/ 815975 h 815975"/>
                <a:gd name="connsiteX9" fmla="*/ 171450 w 825500"/>
                <a:gd name="connsiteY9" fmla="*/ 285750 h 815975"/>
                <a:gd name="connsiteX10" fmla="*/ 98425 w 825500"/>
                <a:gd name="connsiteY10" fmla="*/ 657225 h 815975"/>
                <a:gd name="connsiteX11" fmla="*/ 0 w 825500"/>
                <a:gd name="connsiteY11" fmla="*/ 657225 h 815975"/>
                <a:gd name="connsiteX12" fmla="*/ 149225 w 825500"/>
                <a:gd name="connsiteY12" fmla="*/ 28575 h 815975"/>
                <a:gd name="connsiteX13" fmla="*/ 336550 w 825500"/>
                <a:gd name="connsiteY13" fmla="*/ 0 h 815975"/>
                <a:gd name="connsiteX0" fmla="*/ 336550 w 825500"/>
                <a:gd name="connsiteY0" fmla="*/ 0 h 815975"/>
                <a:gd name="connsiteX1" fmla="*/ 415925 w 825500"/>
                <a:gd name="connsiteY1" fmla="*/ 574675 h 815975"/>
                <a:gd name="connsiteX2" fmla="*/ 492125 w 825500"/>
                <a:gd name="connsiteY2" fmla="*/ 3175 h 815975"/>
                <a:gd name="connsiteX3" fmla="*/ 676275 w 825500"/>
                <a:gd name="connsiteY3" fmla="*/ 19050 h 815975"/>
                <a:gd name="connsiteX4" fmla="*/ 825500 w 825500"/>
                <a:gd name="connsiteY4" fmla="*/ 654050 h 815975"/>
                <a:gd name="connsiteX5" fmla="*/ 717550 w 825500"/>
                <a:gd name="connsiteY5" fmla="*/ 657225 h 815975"/>
                <a:gd name="connsiteX6" fmla="*/ 666750 w 825500"/>
                <a:gd name="connsiteY6" fmla="*/ 285750 h 815975"/>
                <a:gd name="connsiteX7" fmla="*/ 638175 w 825500"/>
                <a:gd name="connsiteY7" fmla="*/ 815975 h 815975"/>
                <a:gd name="connsiteX8" fmla="*/ 187325 w 825500"/>
                <a:gd name="connsiteY8" fmla="*/ 815975 h 815975"/>
                <a:gd name="connsiteX9" fmla="*/ 171450 w 825500"/>
                <a:gd name="connsiteY9" fmla="*/ 285750 h 815975"/>
                <a:gd name="connsiteX10" fmla="*/ 98425 w 825500"/>
                <a:gd name="connsiteY10" fmla="*/ 657225 h 815975"/>
                <a:gd name="connsiteX11" fmla="*/ 0 w 825500"/>
                <a:gd name="connsiteY11" fmla="*/ 657225 h 815975"/>
                <a:gd name="connsiteX12" fmla="*/ 149225 w 825500"/>
                <a:gd name="connsiteY12" fmla="*/ 28575 h 815975"/>
                <a:gd name="connsiteX13" fmla="*/ 336550 w 825500"/>
                <a:gd name="connsiteY13" fmla="*/ 0 h 815975"/>
                <a:gd name="connsiteX0" fmla="*/ 336550 w 825500"/>
                <a:gd name="connsiteY0" fmla="*/ 0 h 815975"/>
                <a:gd name="connsiteX1" fmla="*/ 415925 w 825500"/>
                <a:gd name="connsiteY1" fmla="*/ 574675 h 815975"/>
                <a:gd name="connsiteX2" fmla="*/ 492125 w 825500"/>
                <a:gd name="connsiteY2" fmla="*/ 3175 h 815975"/>
                <a:gd name="connsiteX3" fmla="*/ 676275 w 825500"/>
                <a:gd name="connsiteY3" fmla="*/ 19050 h 815975"/>
                <a:gd name="connsiteX4" fmla="*/ 825500 w 825500"/>
                <a:gd name="connsiteY4" fmla="*/ 654050 h 815975"/>
                <a:gd name="connsiteX5" fmla="*/ 717550 w 825500"/>
                <a:gd name="connsiteY5" fmla="*/ 657225 h 815975"/>
                <a:gd name="connsiteX6" fmla="*/ 666750 w 825500"/>
                <a:gd name="connsiteY6" fmla="*/ 285750 h 815975"/>
                <a:gd name="connsiteX7" fmla="*/ 638175 w 825500"/>
                <a:gd name="connsiteY7" fmla="*/ 815975 h 815975"/>
                <a:gd name="connsiteX8" fmla="*/ 187325 w 825500"/>
                <a:gd name="connsiteY8" fmla="*/ 815975 h 815975"/>
                <a:gd name="connsiteX9" fmla="*/ 171450 w 825500"/>
                <a:gd name="connsiteY9" fmla="*/ 285750 h 815975"/>
                <a:gd name="connsiteX10" fmla="*/ 104775 w 825500"/>
                <a:gd name="connsiteY10" fmla="*/ 660400 h 815975"/>
                <a:gd name="connsiteX11" fmla="*/ 0 w 825500"/>
                <a:gd name="connsiteY11" fmla="*/ 657225 h 815975"/>
                <a:gd name="connsiteX12" fmla="*/ 149225 w 825500"/>
                <a:gd name="connsiteY12" fmla="*/ 28575 h 815975"/>
                <a:gd name="connsiteX13" fmla="*/ 336550 w 825500"/>
                <a:gd name="connsiteY13" fmla="*/ 0 h 815975"/>
                <a:gd name="connsiteX0" fmla="*/ 336550 w 825500"/>
                <a:gd name="connsiteY0" fmla="*/ 0 h 815975"/>
                <a:gd name="connsiteX1" fmla="*/ 415925 w 825500"/>
                <a:gd name="connsiteY1" fmla="*/ 574675 h 815975"/>
                <a:gd name="connsiteX2" fmla="*/ 492125 w 825500"/>
                <a:gd name="connsiteY2" fmla="*/ 3175 h 815975"/>
                <a:gd name="connsiteX3" fmla="*/ 676275 w 825500"/>
                <a:gd name="connsiteY3" fmla="*/ 19050 h 815975"/>
                <a:gd name="connsiteX4" fmla="*/ 825500 w 825500"/>
                <a:gd name="connsiteY4" fmla="*/ 654050 h 815975"/>
                <a:gd name="connsiteX5" fmla="*/ 717550 w 825500"/>
                <a:gd name="connsiteY5" fmla="*/ 657225 h 815975"/>
                <a:gd name="connsiteX6" fmla="*/ 666750 w 825500"/>
                <a:gd name="connsiteY6" fmla="*/ 285750 h 815975"/>
                <a:gd name="connsiteX7" fmla="*/ 638175 w 825500"/>
                <a:gd name="connsiteY7" fmla="*/ 815975 h 815975"/>
                <a:gd name="connsiteX8" fmla="*/ 187325 w 825500"/>
                <a:gd name="connsiteY8" fmla="*/ 815975 h 815975"/>
                <a:gd name="connsiteX9" fmla="*/ 171450 w 825500"/>
                <a:gd name="connsiteY9" fmla="*/ 285750 h 815975"/>
                <a:gd name="connsiteX10" fmla="*/ 104775 w 825500"/>
                <a:gd name="connsiteY10" fmla="*/ 660400 h 815975"/>
                <a:gd name="connsiteX11" fmla="*/ 0 w 825500"/>
                <a:gd name="connsiteY11" fmla="*/ 657225 h 815975"/>
                <a:gd name="connsiteX12" fmla="*/ 149225 w 825500"/>
                <a:gd name="connsiteY12" fmla="*/ 28575 h 815975"/>
                <a:gd name="connsiteX13" fmla="*/ 336550 w 825500"/>
                <a:gd name="connsiteY13" fmla="*/ 0 h 815975"/>
                <a:gd name="connsiteX0" fmla="*/ 336550 w 825500"/>
                <a:gd name="connsiteY0" fmla="*/ 0 h 815975"/>
                <a:gd name="connsiteX1" fmla="*/ 415925 w 825500"/>
                <a:gd name="connsiteY1" fmla="*/ 574675 h 815975"/>
                <a:gd name="connsiteX2" fmla="*/ 492125 w 825500"/>
                <a:gd name="connsiteY2" fmla="*/ 3175 h 815975"/>
                <a:gd name="connsiteX3" fmla="*/ 676275 w 825500"/>
                <a:gd name="connsiteY3" fmla="*/ 19050 h 815975"/>
                <a:gd name="connsiteX4" fmla="*/ 825500 w 825500"/>
                <a:gd name="connsiteY4" fmla="*/ 654050 h 815975"/>
                <a:gd name="connsiteX5" fmla="*/ 717550 w 825500"/>
                <a:gd name="connsiteY5" fmla="*/ 657225 h 815975"/>
                <a:gd name="connsiteX6" fmla="*/ 666750 w 825500"/>
                <a:gd name="connsiteY6" fmla="*/ 285750 h 815975"/>
                <a:gd name="connsiteX7" fmla="*/ 641735 w 825500"/>
                <a:gd name="connsiteY7" fmla="*/ 628653 h 815975"/>
                <a:gd name="connsiteX8" fmla="*/ 638175 w 825500"/>
                <a:gd name="connsiteY8" fmla="*/ 815975 h 815975"/>
                <a:gd name="connsiteX9" fmla="*/ 187325 w 825500"/>
                <a:gd name="connsiteY9" fmla="*/ 815975 h 815975"/>
                <a:gd name="connsiteX10" fmla="*/ 171450 w 825500"/>
                <a:gd name="connsiteY10" fmla="*/ 285750 h 815975"/>
                <a:gd name="connsiteX11" fmla="*/ 104775 w 825500"/>
                <a:gd name="connsiteY11" fmla="*/ 660400 h 815975"/>
                <a:gd name="connsiteX12" fmla="*/ 0 w 825500"/>
                <a:gd name="connsiteY12" fmla="*/ 657225 h 815975"/>
                <a:gd name="connsiteX13" fmla="*/ 149225 w 825500"/>
                <a:gd name="connsiteY13" fmla="*/ 28575 h 815975"/>
                <a:gd name="connsiteX14" fmla="*/ 336550 w 825500"/>
                <a:gd name="connsiteY14" fmla="*/ 0 h 815975"/>
                <a:gd name="connsiteX0" fmla="*/ 336550 w 825500"/>
                <a:gd name="connsiteY0" fmla="*/ 0 h 815975"/>
                <a:gd name="connsiteX1" fmla="*/ 415925 w 825500"/>
                <a:gd name="connsiteY1" fmla="*/ 574675 h 815975"/>
                <a:gd name="connsiteX2" fmla="*/ 492125 w 825500"/>
                <a:gd name="connsiteY2" fmla="*/ 3175 h 815975"/>
                <a:gd name="connsiteX3" fmla="*/ 676275 w 825500"/>
                <a:gd name="connsiteY3" fmla="*/ 19050 h 815975"/>
                <a:gd name="connsiteX4" fmla="*/ 825500 w 825500"/>
                <a:gd name="connsiteY4" fmla="*/ 654050 h 815975"/>
                <a:gd name="connsiteX5" fmla="*/ 717550 w 825500"/>
                <a:gd name="connsiteY5" fmla="*/ 657225 h 815975"/>
                <a:gd name="connsiteX6" fmla="*/ 666750 w 825500"/>
                <a:gd name="connsiteY6" fmla="*/ 285750 h 815975"/>
                <a:gd name="connsiteX7" fmla="*/ 641735 w 825500"/>
                <a:gd name="connsiteY7" fmla="*/ 628653 h 815975"/>
                <a:gd name="connsiteX8" fmla="*/ 638175 w 825500"/>
                <a:gd name="connsiteY8" fmla="*/ 815975 h 815975"/>
                <a:gd name="connsiteX9" fmla="*/ 187325 w 825500"/>
                <a:gd name="connsiteY9" fmla="*/ 815975 h 815975"/>
                <a:gd name="connsiteX10" fmla="*/ 181945 w 825500"/>
                <a:gd name="connsiteY10" fmla="*/ 603541 h 815975"/>
                <a:gd name="connsiteX11" fmla="*/ 171450 w 825500"/>
                <a:gd name="connsiteY11" fmla="*/ 285750 h 815975"/>
                <a:gd name="connsiteX12" fmla="*/ 104775 w 825500"/>
                <a:gd name="connsiteY12" fmla="*/ 660400 h 815975"/>
                <a:gd name="connsiteX13" fmla="*/ 0 w 825500"/>
                <a:gd name="connsiteY13" fmla="*/ 657225 h 815975"/>
                <a:gd name="connsiteX14" fmla="*/ 149225 w 825500"/>
                <a:gd name="connsiteY14" fmla="*/ 28575 h 815975"/>
                <a:gd name="connsiteX15" fmla="*/ 336550 w 825500"/>
                <a:gd name="connsiteY15" fmla="*/ 0 h 815975"/>
                <a:gd name="connsiteX0" fmla="*/ 336550 w 825500"/>
                <a:gd name="connsiteY0" fmla="*/ 0 h 815975"/>
                <a:gd name="connsiteX1" fmla="*/ 415925 w 825500"/>
                <a:gd name="connsiteY1" fmla="*/ 574675 h 815975"/>
                <a:gd name="connsiteX2" fmla="*/ 492125 w 825500"/>
                <a:gd name="connsiteY2" fmla="*/ 3175 h 815975"/>
                <a:gd name="connsiteX3" fmla="*/ 676275 w 825500"/>
                <a:gd name="connsiteY3" fmla="*/ 19050 h 815975"/>
                <a:gd name="connsiteX4" fmla="*/ 825500 w 825500"/>
                <a:gd name="connsiteY4" fmla="*/ 654050 h 815975"/>
                <a:gd name="connsiteX5" fmla="*/ 717550 w 825500"/>
                <a:gd name="connsiteY5" fmla="*/ 657225 h 815975"/>
                <a:gd name="connsiteX6" fmla="*/ 666750 w 825500"/>
                <a:gd name="connsiteY6" fmla="*/ 285750 h 815975"/>
                <a:gd name="connsiteX7" fmla="*/ 621744 w 825500"/>
                <a:gd name="connsiteY7" fmla="*/ 547039 h 815975"/>
                <a:gd name="connsiteX8" fmla="*/ 638175 w 825500"/>
                <a:gd name="connsiteY8" fmla="*/ 815975 h 815975"/>
                <a:gd name="connsiteX9" fmla="*/ 187325 w 825500"/>
                <a:gd name="connsiteY9" fmla="*/ 815975 h 815975"/>
                <a:gd name="connsiteX10" fmla="*/ 181945 w 825500"/>
                <a:gd name="connsiteY10" fmla="*/ 603541 h 815975"/>
                <a:gd name="connsiteX11" fmla="*/ 171450 w 825500"/>
                <a:gd name="connsiteY11" fmla="*/ 285750 h 815975"/>
                <a:gd name="connsiteX12" fmla="*/ 104775 w 825500"/>
                <a:gd name="connsiteY12" fmla="*/ 660400 h 815975"/>
                <a:gd name="connsiteX13" fmla="*/ 0 w 825500"/>
                <a:gd name="connsiteY13" fmla="*/ 657225 h 815975"/>
                <a:gd name="connsiteX14" fmla="*/ 149225 w 825500"/>
                <a:gd name="connsiteY14" fmla="*/ 28575 h 815975"/>
                <a:gd name="connsiteX15" fmla="*/ 336550 w 825500"/>
                <a:gd name="connsiteY15" fmla="*/ 0 h 815975"/>
                <a:gd name="connsiteX0" fmla="*/ 336550 w 825500"/>
                <a:gd name="connsiteY0" fmla="*/ 0 h 815975"/>
                <a:gd name="connsiteX1" fmla="*/ 415925 w 825500"/>
                <a:gd name="connsiteY1" fmla="*/ 574675 h 815975"/>
                <a:gd name="connsiteX2" fmla="*/ 492125 w 825500"/>
                <a:gd name="connsiteY2" fmla="*/ 3175 h 815975"/>
                <a:gd name="connsiteX3" fmla="*/ 676275 w 825500"/>
                <a:gd name="connsiteY3" fmla="*/ 19050 h 815975"/>
                <a:gd name="connsiteX4" fmla="*/ 825500 w 825500"/>
                <a:gd name="connsiteY4" fmla="*/ 654050 h 815975"/>
                <a:gd name="connsiteX5" fmla="*/ 717550 w 825500"/>
                <a:gd name="connsiteY5" fmla="*/ 657225 h 815975"/>
                <a:gd name="connsiteX6" fmla="*/ 666750 w 825500"/>
                <a:gd name="connsiteY6" fmla="*/ 285750 h 815975"/>
                <a:gd name="connsiteX7" fmla="*/ 621744 w 825500"/>
                <a:gd name="connsiteY7" fmla="*/ 547039 h 815975"/>
                <a:gd name="connsiteX8" fmla="*/ 638175 w 825500"/>
                <a:gd name="connsiteY8" fmla="*/ 815975 h 815975"/>
                <a:gd name="connsiteX9" fmla="*/ 187325 w 825500"/>
                <a:gd name="connsiteY9" fmla="*/ 815975 h 815975"/>
                <a:gd name="connsiteX10" fmla="*/ 208599 w 825500"/>
                <a:gd name="connsiteY10" fmla="*/ 559596 h 815975"/>
                <a:gd name="connsiteX11" fmla="*/ 171450 w 825500"/>
                <a:gd name="connsiteY11" fmla="*/ 285750 h 815975"/>
                <a:gd name="connsiteX12" fmla="*/ 104775 w 825500"/>
                <a:gd name="connsiteY12" fmla="*/ 660400 h 815975"/>
                <a:gd name="connsiteX13" fmla="*/ 0 w 825500"/>
                <a:gd name="connsiteY13" fmla="*/ 657225 h 815975"/>
                <a:gd name="connsiteX14" fmla="*/ 149225 w 825500"/>
                <a:gd name="connsiteY14" fmla="*/ 28575 h 815975"/>
                <a:gd name="connsiteX15" fmla="*/ 336550 w 825500"/>
                <a:gd name="connsiteY15" fmla="*/ 0 h 815975"/>
                <a:gd name="connsiteX0" fmla="*/ 336550 w 825500"/>
                <a:gd name="connsiteY0" fmla="*/ 0 h 815975"/>
                <a:gd name="connsiteX1" fmla="*/ 415925 w 825500"/>
                <a:gd name="connsiteY1" fmla="*/ 574675 h 815975"/>
                <a:gd name="connsiteX2" fmla="*/ 492125 w 825500"/>
                <a:gd name="connsiteY2" fmla="*/ 3175 h 815975"/>
                <a:gd name="connsiteX3" fmla="*/ 676275 w 825500"/>
                <a:gd name="connsiteY3" fmla="*/ 19050 h 815975"/>
                <a:gd name="connsiteX4" fmla="*/ 825500 w 825500"/>
                <a:gd name="connsiteY4" fmla="*/ 654050 h 815975"/>
                <a:gd name="connsiteX5" fmla="*/ 717550 w 825500"/>
                <a:gd name="connsiteY5" fmla="*/ 657225 h 815975"/>
                <a:gd name="connsiteX6" fmla="*/ 646759 w 825500"/>
                <a:gd name="connsiteY6" fmla="*/ 285750 h 815975"/>
                <a:gd name="connsiteX7" fmla="*/ 621744 w 825500"/>
                <a:gd name="connsiteY7" fmla="*/ 547039 h 815975"/>
                <a:gd name="connsiteX8" fmla="*/ 638175 w 825500"/>
                <a:gd name="connsiteY8" fmla="*/ 815975 h 815975"/>
                <a:gd name="connsiteX9" fmla="*/ 187325 w 825500"/>
                <a:gd name="connsiteY9" fmla="*/ 815975 h 815975"/>
                <a:gd name="connsiteX10" fmla="*/ 208599 w 825500"/>
                <a:gd name="connsiteY10" fmla="*/ 559596 h 815975"/>
                <a:gd name="connsiteX11" fmla="*/ 171450 w 825500"/>
                <a:gd name="connsiteY11" fmla="*/ 285750 h 815975"/>
                <a:gd name="connsiteX12" fmla="*/ 104775 w 825500"/>
                <a:gd name="connsiteY12" fmla="*/ 660400 h 815975"/>
                <a:gd name="connsiteX13" fmla="*/ 0 w 825500"/>
                <a:gd name="connsiteY13" fmla="*/ 657225 h 815975"/>
                <a:gd name="connsiteX14" fmla="*/ 149225 w 825500"/>
                <a:gd name="connsiteY14" fmla="*/ 28575 h 815975"/>
                <a:gd name="connsiteX15" fmla="*/ 336550 w 825500"/>
                <a:gd name="connsiteY15" fmla="*/ 0 h 815975"/>
                <a:gd name="connsiteX0" fmla="*/ 336550 w 825500"/>
                <a:gd name="connsiteY0" fmla="*/ 0 h 815975"/>
                <a:gd name="connsiteX1" fmla="*/ 415925 w 825500"/>
                <a:gd name="connsiteY1" fmla="*/ 574675 h 815975"/>
                <a:gd name="connsiteX2" fmla="*/ 492125 w 825500"/>
                <a:gd name="connsiteY2" fmla="*/ 3175 h 815975"/>
                <a:gd name="connsiteX3" fmla="*/ 676275 w 825500"/>
                <a:gd name="connsiteY3" fmla="*/ 19050 h 815975"/>
                <a:gd name="connsiteX4" fmla="*/ 825500 w 825500"/>
                <a:gd name="connsiteY4" fmla="*/ 654050 h 815975"/>
                <a:gd name="connsiteX5" fmla="*/ 717550 w 825500"/>
                <a:gd name="connsiteY5" fmla="*/ 657225 h 815975"/>
                <a:gd name="connsiteX6" fmla="*/ 646759 w 825500"/>
                <a:gd name="connsiteY6" fmla="*/ 285750 h 815975"/>
                <a:gd name="connsiteX7" fmla="*/ 621744 w 825500"/>
                <a:gd name="connsiteY7" fmla="*/ 547039 h 815975"/>
                <a:gd name="connsiteX8" fmla="*/ 638175 w 825500"/>
                <a:gd name="connsiteY8" fmla="*/ 815975 h 815975"/>
                <a:gd name="connsiteX9" fmla="*/ 187325 w 825500"/>
                <a:gd name="connsiteY9" fmla="*/ 815975 h 815975"/>
                <a:gd name="connsiteX10" fmla="*/ 208599 w 825500"/>
                <a:gd name="connsiteY10" fmla="*/ 559596 h 815975"/>
                <a:gd name="connsiteX11" fmla="*/ 191441 w 825500"/>
                <a:gd name="connsiteY11" fmla="*/ 285750 h 815975"/>
                <a:gd name="connsiteX12" fmla="*/ 104775 w 825500"/>
                <a:gd name="connsiteY12" fmla="*/ 660400 h 815975"/>
                <a:gd name="connsiteX13" fmla="*/ 0 w 825500"/>
                <a:gd name="connsiteY13" fmla="*/ 657225 h 815975"/>
                <a:gd name="connsiteX14" fmla="*/ 149225 w 825500"/>
                <a:gd name="connsiteY14" fmla="*/ 28575 h 815975"/>
                <a:gd name="connsiteX15" fmla="*/ 336550 w 825500"/>
                <a:gd name="connsiteY15" fmla="*/ 0 h 815975"/>
                <a:gd name="connsiteX0" fmla="*/ 336550 w 825500"/>
                <a:gd name="connsiteY0" fmla="*/ 0 h 815975"/>
                <a:gd name="connsiteX1" fmla="*/ 415925 w 825500"/>
                <a:gd name="connsiteY1" fmla="*/ 260776 h 815975"/>
                <a:gd name="connsiteX2" fmla="*/ 492125 w 825500"/>
                <a:gd name="connsiteY2" fmla="*/ 3175 h 815975"/>
                <a:gd name="connsiteX3" fmla="*/ 676275 w 825500"/>
                <a:gd name="connsiteY3" fmla="*/ 19050 h 815975"/>
                <a:gd name="connsiteX4" fmla="*/ 825500 w 825500"/>
                <a:gd name="connsiteY4" fmla="*/ 654050 h 815975"/>
                <a:gd name="connsiteX5" fmla="*/ 717550 w 825500"/>
                <a:gd name="connsiteY5" fmla="*/ 657225 h 815975"/>
                <a:gd name="connsiteX6" fmla="*/ 646759 w 825500"/>
                <a:gd name="connsiteY6" fmla="*/ 285750 h 815975"/>
                <a:gd name="connsiteX7" fmla="*/ 621744 w 825500"/>
                <a:gd name="connsiteY7" fmla="*/ 547039 h 815975"/>
                <a:gd name="connsiteX8" fmla="*/ 638175 w 825500"/>
                <a:gd name="connsiteY8" fmla="*/ 815975 h 815975"/>
                <a:gd name="connsiteX9" fmla="*/ 187325 w 825500"/>
                <a:gd name="connsiteY9" fmla="*/ 815975 h 815975"/>
                <a:gd name="connsiteX10" fmla="*/ 208599 w 825500"/>
                <a:gd name="connsiteY10" fmla="*/ 559596 h 815975"/>
                <a:gd name="connsiteX11" fmla="*/ 191441 w 825500"/>
                <a:gd name="connsiteY11" fmla="*/ 285750 h 815975"/>
                <a:gd name="connsiteX12" fmla="*/ 104775 w 825500"/>
                <a:gd name="connsiteY12" fmla="*/ 660400 h 815975"/>
                <a:gd name="connsiteX13" fmla="*/ 0 w 825500"/>
                <a:gd name="connsiteY13" fmla="*/ 657225 h 815975"/>
                <a:gd name="connsiteX14" fmla="*/ 149225 w 825500"/>
                <a:gd name="connsiteY14" fmla="*/ 28575 h 815975"/>
                <a:gd name="connsiteX15" fmla="*/ 336550 w 825500"/>
                <a:gd name="connsiteY15" fmla="*/ 0 h 815975"/>
                <a:gd name="connsiteX0" fmla="*/ 336550 w 825500"/>
                <a:gd name="connsiteY0" fmla="*/ 0 h 815975"/>
                <a:gd name="connsiteX1" fmla="*/ 415925 w 825500"/>
                <a:gd name="connsiteY1" fmla="*/ 260776 h 815975"/>
                <a:gd name="connsiteX2" fmla="*/ 492125 w 825500"/>
                <a:gd name="connsiteY2" fmla="*/ 3175 h 815975"/>
                <a:gd name="connsiteX3" fmla="*/ 676275 w 825500"/>
                <a:gd name="connsiteY3" fmla="*/ 19050 h 815975"/>
                <a:gd name="connsiteX4" fmla="*/ 825500 w 825500"/>
                <a:gd name="connsiteY4" fmla="*/ 654050 h 815975"/>
                <a:gd name="connsiteX5" fmla="*/ 717550 w 825500"/>
                <a:gd name="connsiteY5" fmla="*/ 657225 h 815975"/>
                <a:gd name="connsiteX6" fmla="*/ 646759 w 825500"/>
                <a:gd name="connsiteY6" fmla="*/ 285750 h 815975"/>
                <a:gd name="connsiteX7" fmla="*/ 621744 w 825500"/>
                <a:gd name="connsiteY7" fmla="*/ 547039 h 815975"/>
                <a:gd name="connsiteX8" fmla="*/ 638175 w 825500"/>
                <a:gd name="connsiteY8" fmla="*/ 815975 h 815975"/>
                <a:gd name="connsiteX9" fmla="*/ 160670 w 825500"/>
                <a:gd name="connsiteY9" fmla="*/ 815975 h 815975"/>
                <a:gd name="connsiteX10" fmla="*/ 208599 w 825500"/>
                <a:gd name="connsiteY10" fmla="*/ 559596 h 815975"/>
                <a:gd name="connsiteX11" fmla="*/ 191441 w 825500"/>
                <a:gd name="connsiteY11" fmla="*/ 285750 h 815975"/>
                <a:gd name="connsiteX12" fmla="*/ 104775 w 825500"/>
                <a:gd name="connsiteY12" fmla="*/ 660400 h 815975"/>
                <a:gd name="connsiteX13" fmla="*/ 0 w 825500"/>
                <a:gd name="connsiteY13" fmla="*/ 657225 h 815975"/>
                <a:gd name="connsiteX14" fmla="*/ 149225 w 825500"/>
                <a:gd name="connsiteY14" fmla="*/ 28575 h 815975"/>
                <a:gd name="connsiteX15" fmla="*/ 336550 w 825500"/>
                <a:gd name="connsiteY15" fmla="*/ 0 h 815975"/>
                <a:gd name="connsiteX0" fmla="*/ 336550 w 825500"/>
                <a:gd name="connsiteY0" fmla="*/ 0 h 822253"/>
                <a:gd name="connsiteX1" fmla="*/ 415925 w 825500"/>
                <a:gd name="connsiteY1" fmla="*/ 260776 h 822253"/>
                <a:gd name="connsiteX2" fmla="*/ 492125 w 825500"/>
                <a:gd name="connsiteY2" fmla="*/ 3175 h 822253"/>
                <a:gd name="connsiteX3" fmla="*/ 676275 w 825500"/>
                <a:gd name="connsiteY3" fmla="*/ 19050 h 822253"/>
                <a:gd name="connsiteX4" fmla="*/ 825500 w 825500"/>
                <a:gd name="connsiteY4" fmla="*/ 654050 h 822253"/>
                <a:gd name="connsiteX5" fmla="*/ 717550 w 825500"/>
                <a:gd name="connsiteY5" fmla="*/ 657225 h 822253"/>
                <a:gd name="connsiteX6" fmla="*/ 646759 w 825500"/>
                <a:gd name="connsiteY6" fmla="*/ 285750 h 822253"/>
                <a:gd name="connsiteX7" fmla="*/ 621744 w 825500"/>
                <a:gd name="connsiteY7" fmla="*/ 547039 h 822253"/>
                <a:gd name="connsiteX8" fmla="*/ 664830 w 825500"/>
                <a:gd name="connsiteY8" fmla="*/ 822253 h 822253"/>
                <a:gd name="connsiteX9" fmla="*/ 160670 w 825500"/>
                <a:gd name="connsiteY9" fmla="*/ 815975 h 822253"/>
                <a:gd name="connsiteX10" fmla="*/ 208599 w 825500"/>
                <a:gd name="connsiteY10" fmla="*/ 559596 h 822253"/>
                <a:gd name="connsiteX11" fmla="*/ 191441 w 825500"/>
                <a:gd name="connsiteY11" fmla="*/ 285750 h 822253"/>
                <a:gd name="connsiteX12" fmla="*/ 104775 w 825500"/>
                <a:gd name="connsiteY12" fmla="*/ 660400 h 822253"/>
                <a:gd name="connsiteX13" fmla="*/ 0 w 825500"/>
                <a:gd name="connsiteY13" fmla="*/ 657225 h 822253"/>
                <a:gd name="connsiteX14" fmla="*/ 149225 w 825500"/>
                <a:gd name="connsiteY14" fmla="*/ 28575 h 822253"/>
                <a:gd name="connsiteX15" fmla="*/ 336550 w 825500"/>
                <a:gd name="connsiteY15" fmla="*/ 0 h 822253"/>
                <a:gd name="connsiteX0" fmla="*/ 336550 w 825500"/>
                <a:gd name="connsiteY0" fmla="*/ 0 h 822253"/>
                <a:gd name="connsiteX1" fmla="*/ 415925 w 825500"/>
                <a:gd name="connsiteY1" fmla="*/ 260776 h 822253"/>
                <a:gd name="connsiteX2" fmla="*/ 492125 w 825500"/>
                <a:gd name="connsiteY2" fmla="*/ 3175 h 822253"/>
                <a:gd name="connsiteX3" fmla="*/ 676275 w 825500"/>
                <a:gd name="connsiteY3" fmla="*/ 19050 h 822253"/>
                <a:gd name="connsiteX4" fmla="*/ 825500 w 825500"/>
                <a:gd name="connsiteY4" fmla="*/ 654050 h 822253"/>
                <a:gd name="connsiteX5" fmla="*/ 717550 w 825500"/>
                <a:gd name="connsiteY5" fmla="*/ 657225 h 822253"/>
                <a:gd name="connsiteX6" fmla="*/ 646759 w 825500"/>
                <a:gd name="connsiteY6" fmla="*/ 285750 h 822253"/>
                <a:gd name="connsiteX7" fmla="*/ 621744 w 825500"/>
                <a:gd name="connsiteY7" fmla="*/ 547039 h 822253"/>
                <a:gd name="connsiteX8" fmla="*/ 664830 w 825500"/>
                <a:gd name="connsiteY8" fmla="*/ 822253 h 822253"/>
                <a:gd name="connsiteX9" fmla="*/ 167334 w 825500"/>
                <a:gd name="connsiteY9" fmla="*/ 815975 h 822253"/>
                <a:gd name="connsiteX10" fmla="*/ 208599 w 825500"/>
                <a:gd name="connsiteY10" fmla="*/ 559596 h 822253"/>
                <a:gd name="connsiteX11" fmla="*/ 191441 w 825500"/>
                <a:gd name="connsiteY11" fmla="*/ 285750 h 822253"/>
                <a:gd name="connsiteX12" fmla="*/ 104775 w 825500"/>
                <a:gd name="connsiteY12" fmla="*/ 660400 h 822253"/>
                <a:gd name="connsiteX13" fmla="*/ 0 w 825500"/>
                <a:gd name="connsiteY13" fmla="*/ 657225 h 822253"/>
                <a:gd name="connsiteX14" fmla="*/ 149225 w 825500"/>
                <a:gd name="connsiteY14" fmla="*/ 28575 h 822253"/>
                <a:gd name="connsiteX15" fmla="*/ 336550 w 825500"/>
                <a:gd name="connsiteY15" fmla="*/ 0 h 822253"/>
                <a:gd name="connsiteX0" fmla="*/ 336550 w 825500"/>
                <a:gd name="connsiteY0" fmla="*/ 0 h 822253"/>
                <a:gd name="connsiteX1" fmla="*/ 415925 w 825500"/>
                <a:gd name="connsiteY1" fmla="*/ 260776 h 822253"/>
                <a:gd name="connsiteX2" fmla="*/ 492125 w 825500"/>
                <a:gd name="connsiteY2" fmla="*/ 3175 h 822253"/>
                <a:gd name="connsiteX3" fmla="*/ 676275 w 825500"/>
                <a:gd name="connsiteY3" fmla="*/ 19050 h 822253"/>
                <a:gd name="connsiteX4" fmla="*/ 825500 w 825500"/>
                <a:gd name="connsiteY4" fmla="*/ 654050 h 822253"/>
                <a:gd name="connsiteX5" fmla="*/ 717550 w 825500"/>
                <a:gd name="connsiteY5" fmla="*/ 657225 h 822253"/>
                <a:gd name="connsiteX6" fmla="*/ 646759 w 825500"/>
                <a:gd name="connsiteY6" fmla="*/ 285750 h 822253"/>
                <a:gd name="connsiteX7" fmla="*/ 621744 w 825500"/>
                <a:gd name="connsiteY7" fmla="*/ 547039 h 822253"/>
                <a:gd name="connsiteX8" fmla="*/ 664830 w 825500"/>
                <a:gd name="connsiteY8" fmla="*/ 822253 h 822253"/>
                <a:gd name="connsiteX9" fmla="*/ 167334 w 825500"/>
                <a:gd name="connsiteY9" fmla="*/ 815975 h 822253"/>
                <a:gd name="connsiteX10" fmla="*/ 195272 w 825500"/>
                <a:gd name="connsiteY10" fmla="*/ 565874 h 822253"/>
                <a:gd name="connsiteX11" fmla="*/ 191441 w 825500"/>
                <a:gd name="connsiteY11" fmla="*/ 285750 h 822253"/>
                <a:gd name="connsiteX12" fmla="*/ 104775 w 825500"/>
                <a:gd name="connsiteY12" fmla="*/ 660400 h 822253"/>
                <a:gd name="connsiteX13" fmla="*/ 0 w 825500"/>
                <a:gd name="connsiteY13" fmla="*/ 657225 h 822253"/>
                <a:gd name="connsiteX14" fmla="*/ 149225 w 825500"/>
                <a:gd name="connsiteY14" fmla="*/ 28575 h 822253"/>
                <a:gd name="connsiteX15" fmla="*/ 336550 w 825500"/>
                <a:gd name="connsiteY15" fmla="*/ 0 h 822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25500" h="822253">
                  <a:moveTo>
                    <a:pt x="336550" y="0"/>
                  </a:moveTo>
                  <a:lnTo>
                    <a:pt x="415925" y="260776"/>
                  </a:lnTo>
                  <a:lnTo>
                    <a:pt x="492125" y="3175"/>
                  </a:lnTo>
                  <a:lnTo>
                    <a:pt x="676275" y="19050"/>
                  </a:lnTo>
                  <a:cubicBezTo>
                    <a:pt x="799042" y="262467"/>
                    <a:pt x="817033" y="531283"/>
                    <a:pt x="825500" y="654050"/>
                  </a:cubicBezTo>
                  <a:lnTo>
                    <a:pt x="717550" y="657225"/>
                  </a:lnTo>
                  <a:cubicBezTo>
                    <a:pt x="729192" y="536575"/>
                    <a:pt x="673217" y="393700"/>
                    <a:pt x="646759" y="285750"/>
                  </a:cubicBezTo>
                  <a:lnTo>
                    <a:pt x="621744" y="547039"/>
                  </a:lnTo>
                  <a:cubicBezTo>
                    <a:pt x="620557" y="609480"/>
                    <a:pt x="666017" y="759812"/>
                    <a:pt x="664830" y="822253"/>
                  </a:cubicBezTo>
                  <a:lnTo>
                    <a:pt x="167334" y="815975"/>
                  </a:lnTo>
                  <a:lnTo>
                    <a:pt x="195272" y="565874"/>
                  </a:lnTo>
                  <a:lnTo>
                    <a:pt x="191441" y="285750"/>
                  </a:lnTo>
                  <a:cubicBezTo>
                    <a:pt x="154399" y="384175"/>
                    <a:pt x="110067" y="530225"/>
                    <a:pt x="104775" y="660400"/>
                  </a:cubicBezTo>
                  <a:lnTo>
                    <a:pt x="0" y="657225"/>
                  </a:lnTo>
                  <a:cubicBezTo>
                    <a:pt x="21167" y="508000"/>
                    <a:pt x="35983" y="276225"/>
                    <a:pt x="149225" y="28575"/>
                  </a:cubicBezTo>
                  <a:lnTo>
                    <a:pt x="33655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 smtClean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52" name="Group 51"/>
          <p:cNvGrpSpPr/>
          <p:nvPr/>
        </p:nvGrpSpPr>
        <p:grpSpPr>
          <a:xfrm>
            <a:off x="11080479" y="4501121"/>
            <a:ext cx="931389" cy="2169097"/>
            <a:chOff x="10220199" y="4264566"/>
            <a:chExt cx="931389" cy="2169097"/>
          </a:xfrm>
        </p:grpSpPr>
        <p:sp>
          <p:nvSpPr>
            <p:cNvPr id="53" name="Freeform 52"/>
            <p:cNvSpPr/>
            <p:nvPr/>
          </p:nvSpPr>
          <p:spPr bwMode="auto">
            <a:xfrm rot="5400000">
              <a:off x="10343590" y="4440410"/>
              <a:ext cx="519180" cy="260267"/>
            </a:xfrm>
            <a:custGeom>
              <a:avLst/>
              <a:gdLst>
                <a:gd name="connsiteX0" fmla="*/ 0 w 392904"/>
                <a:gd name="connsiteY0" fmla="*/ 184191 h 309562"/>
                <a:gd name="connsiteX1" fmla="*/ 0 w 392904"/>
                <a:gd name="connsiteY1" fmla="*/ 125371 h 309562"/>
                <a:gd name="connsiteX2" fmla="*/ 95323 w 392904"/>
                <a:gd name="connsiteY2" fmla="*/ 30048 h 309562"/>
                <a:gd name="connsiteX3" fmla="*/ 107911 w 392904"/>
                <a:gd name="connsiteY3" fmla="*/ 30048 h 309562"/>
                <a:gd name="connsiteX4" fmla="*/ 116458 w 392904"/>
                <a:gd name="connsiteY4" fmla="*/ 9416 h 309562"/>
                <a:gd name="connsiteX5" fmla="*/ 139189 w 392904"/>
                <a:gd name="connsiteY5" fmla="*/ 0 h 309562"/>
                <a:gd name="connsiteX6" fmla="*/ 182279 w 392904"/>
                <a:gd name="connsiteY6" fmla="*/ 0 h 309562"/>
                <a:gd name="connsiteX7" fmla="*/ 205010 w 392904"/>
                <a:gd name="connsiteY7" fmla="*/ 9416 h 309562"/>
                <a:gd name="connsiteX8" fmla="*/ 213557 w 392904"/>
                <a:gd name="connsiteY8" fmla="*/ 30048 h 309562"/>
                <a:gd name="connsiteX9" fmla="*/ 252339 w 392904"/>
                <a:gd name="connsiteY9" fmla="*/ 30048 h 309562"/>
                <a:gd name="connsiteX10" fmla="*/ 319742 w 392904"/>
                <a:gd name="connsiteY10" fmla="*/ 57968 h 309562"/>
                <a:gd name="connsiteX11" fmla="*/ 336441 w 392904"/>
                <a:gd name="connsiteY11" fmla="*/ 82735 h 309562"/>
                <a:gd name="connsiteX12" fmla="*/ 357186 w 392904"/>
                <a:gd name="connsiteY12" fmla="*/ 80848 h 309562"/>
                <a:gd name="connsiteX13" fmla="*/ 392904 w 392904"/>
                <a:gd name="connsiteY13" fmla="*/ 152286 h 309562"/>
                <a:gd name="connsiteX14" fmla="*/ 357186 w 392904"/>
                <a:gd name="connsiteY14" fmla="*/ 235629 h 309562"/>
                <a:gd name="connsiteX15" fmla="*/ 330992 w 392904"/>
                <a:gd name="connsiteY15" fmla="*/ 235629 h 309562"/>
                <a:gd name="connsiteX16" fmla="*/ 330992 w 392904"/>
                <a:gd name="connsiteY16" fmla="*/ 234909 h 309562"/>
                <a:gd name="connsiteX17" fmla="*/ 319742 w 392904"/>
                <a:gd name="connsiteY17" fmla="*/ 251594 h 309562"/>
                <a:gd name="connsiteX18" fmla="*/ 252339 w 392904"/>
                <a:gd name="connsiteY18" fmla="*/ 279514 h 309562"/>
                <a:gd name="connsiteX19" fmla="*/ 213557 w 392904"/>
                <a:gd name="connsiteY19" fmla="*/ 279514 h 309562"/>
                <a:gd name="connsiteX20" fmla="*/ 205010 w 392904"/>
                <a:gd name="connsiteY20" fmla="*/ 300146 h 309562"/>
                <a:gd name="connsiteX21" fmla="*/ 182279 w 392904"/>
                <a:gd name="connsiteY21" fmla="*/ 309562 h 309562"/>
                <a:gd name="connsiteX22" fmla="*/ 139189 w 392904"/>
                <a:gd name="connsiteY22" fmla="*/ 309562 h 309562"/>
                <a:gd name="connsiteX23" fmla="*/ 116458 w 392904"/>
                <a:gd name="connsiteY23" fmla="*/ 300146 h 309562"/>
                <a:gd name="connsiteX24" fmla="*/ 107911 w 392904"/>
                <a:gd name="connsiteY24" fmla="*/ 279514 h 309562"/>
                <a:gd name="connsiteX25" fmla="*/ 95323 w 392904"/>
                <a:gd name="connsiteY25" fmla="*/ 279514 h 309562"/>
                <a:gd name="connsiteX26" fmla="*/ 0 w 392904"/>
                <a:gd name="connsiteY26" fmla="*/ 184191 h 309562"/>
                <a:gd name="connsiteX0" fmla="*/ 0 w 617515"/>
                <a:gd name="connsiteY0" fmla="*/ 184191 h 309562"/>
                <a:gd name="connsiteX1" fmla="*/ 0 w 617515"/>
                <a:gd name="connsiteY1" fmla="*/ 125371 h 309562"/>
                <a:gd name="connsiteX2" fmla="*/ 95323 w 617515"/>
                <a:gd name="connsiteY2" fmla="*/ 30048 h 309562"/>
                <a:gd name="connsiteX3" fmla="*/ 107911 w 617515"/>
                <a:gd name="connsiteY3" fmla="*/ 30048 h 309562"/>
                <a:gd name="connsiteX4" fmla="*/ 116458 w 617515"/>
                <a:gd name="connsiteY4" fmla="*/ 9416 h 309562"/>
                <a:gd name="connsiteX5" fmla="*/ 139189 w 617515"/>
                <a:gd name="connsiteY5" fmla="*/ 0 h 309562"/>
                <a:gd name="connsiteX6" fmla="*/ 182279 w 617515"/>
                <a:gd name="connsiteY6" fmla="*/ 0 h 309562"/>
                <a:gd name="connsiteX7" fmla="*/ 205010 w 617515"/>
                <a:gd name="connsiteY7" fmla="*/ 9416 h 309562"/>
                <a:gd name="connsiteX8" fmla="*/ 213557 w 617515"/>
                <a:gd name="connsiteY8" fmla="*/ 30048 h 309562"/>
                <a:gd name="connsiteX9" fmla="*/ 252339 w 617515"/>
                <a:gd name="connsiteY9" fmla="*/ 30048 h 309562"/>
                <a:gd name="connsiteX10" fmla="*/ 319742 w 617515"/>
                <a:gd name="connsiteY10" fmla="*/ 57968 h 309562"/>
                <a:gd name="connsiteX11" fmla="*/ 336441 w 617515"/>
                <a:gd name="connsiteY11" fmla="*/ 82735 h 309562"/>
                <a:gd name="connsiteX12" fmla="*/ 357186 w 617515"/>
                <a:gd name="connsiteY12" fmla="*/ 80848 h 309562"/>
                <a:gd name="connsiteX13" fmla="*/ 617515 w 617515"/>
                <a:gd name="connsiteY13" fmla="*/ 160167 h 309562"/>
                <a:gd name="connsiteX14" fmla="*/ 357186 w 617515"/>
                <a:gd name="connsiteY14" fmla="*/ 235629 h 309562"/>
                <a:gd name="connsiteX15" fmla="*/ 330992 w 617515"/>
                <a:gd name="connsiteY15" fmla="*/ 235629 h 309562"/>
                <a:gd name="connsiteX16" fmla="*/ 330992 w 617515"/>
                <a:gd name="connsiteY16" fmla="*/ 234909 h 309562"/>
                <a:gd name="connsiteX17" fmla="*/ 319742 w 617515"/>
                <a:gd name="connsiteY17" fmla="*/ 251594 h 309562"/>
                <a:gd name="connsiteX18" fmla="*/ 252339 w 617515"/>
                <a:gd name="connsiteY18" fmla="*/ 279514 h 309562"/>
                <a:gd name="connsiteX19" fmla="*/ 213557 w 617515"/>
                <a:gd name="connsiteY19" fmla="*/ 279514 h 309562"/>
                <a:gd name="connsiteX20" fmla="*/ 205010 w 617515"/>
                <a:gd name="connsiteY20" fmla="*/ 300146 h 309562"/>
                <a:gd name="connsiteX21" fmla="*/ 182279 w 617515"/>
                <a:gd name="connsiteY21" fmla="*/ 309562 h 309562"/>
                <a:gd name="connsiteX22" fmla="*/ 139189 w 617515"/>
                <a:gd name="connsiteY22" fmla="*/ 309562 h 309562"/>
                <a:gd name="connsiteX23" fmla="*/ 116458 w 617515"/>
                <a:gd name="connsiteY23" fmla="*/ 300146 h 309562"/>
                <a:gd name="connsiteX24" fmla="*/ 107911 w 617515"/>
                <a:gd name="connsiteY24" fmla="*/ 279514 h 309562"/>
                <a:gd name="connsiteX25" fmla="*/ 95323 w 617515"/>
                <a:gd name="connsiteY25" fmla="*/ 279514 h 309562"/>
                <a:gd name="connsiteX26" fmla="*/ 0 w 617515"/>
                <a:gd name="connsiteY26" fmla="*/ 184191 h 309562"/>
                <a:gd name="connsiteX0" fmla="*/ 0 w 617515"/>
                <a:gd name="connsiteY0" fmla="*/ 184191 h 309562"/>
                <a:gd name="connsiteX1" fmla="*/ 0 w 617515"/>
                <a:gd name="connsiteY1" fmla="*/ 125371 h 309562"/>
                <a:gd name="connsiteX2" fmla="*/ 95323 w 617515"/>
                <a:gd name="connsiteY2" fmla="*/ 30048 h 309562"/>
                <a:gd name="connsiteX3" fmla="*/ 107911 w 617515"/>
                <a:gd name="connsiteY3" fmla="*/ 30048 h 309562"/>
                <a:gd name="connsiteX4" fmla="*/ 116458 w 617515"/>
                <a:gd name="connsiteY4" fmla="*/ 9416 h 309562"/>
                <a:gd name="connsiteX5" fmla="*/ 139189 w 617515"/>
                <a:gd name="connsiteY5" fmla="*/ 0 h 309562"/>
                <a:gd name="connsiteX6" fmla="*/ 182279 w 617515"/>
                <a:gd name="connsiteY6" fmla="*/ 0 h 309562"/>
                <a:gd name="connsiteX7" fmla="*/ 205010 w 617515"/>
                <a:gd name="connsiteY7" fmla="*/ 9416 h 309562"/>
                <a:gd name="connsiteX8" fmla="*/ 213557 w 617515"/>
                <a:gd name="connsiteY8" fmla="*/ 30048 h 309562"/>
                <a:gd name="connsiteX9" fmla="*/ 252339 w 617515"/>
                <a:gd name="connsiteY9" fmla="*/ 30048 h 309562"/>
                <a:gd name="connsiteX10" fmla="*/ 319742 w 617515"/>
                <a:gd name="connsiteY10" fmla="*/ 57968 h 309562"/>
                <a:gd name="connsiteX11" fmla="*/ 336441 w 617515"/>
                <a:gd name="connsiteY11" fmla="*/ 82735 h 309562"/>
                <a:gd name="connsiteX12" fmla="*/ 522692 w 617515"/>
                <a:gd name="connsiteY12" fmla="*/ 80848 h 309562"/>
                <a:gd name="connsiteX13" fmla="*/ 617515 w 617515"/>
                <a:gd name="connsiteY13" fmla="*/ 160167 h 309562"/>
                <a:gd name="connsiteX14" fmla="*/ 357186 w 617515"/>
                <a:gd name="connsiteY14" fmla="*/ 235629 h 309562"/>
                <a:gd name="connsiteX15" fmla="*/ 330992 w 617515"/>
                <a:gd name="connsiteY15" fmla="*/ 235629 h 309562"/>
                <a:gd name="connsiteX16" fmla="*/ 330992 w 617515"/>
                <a:gd name="connsiteY16" fmla="*/ 234909 h 309562"/>
                <a:gd name="connsiteX17" fmla="*/ 319742 w 617515"/>
                <a:gd name="connsiteY17" fmla="*/ 251594 h 309562"/>
                <a:gd name="connsiteX18" fmla="*/ 252339 w 617515"/>
                <a:gd name="connsiteY18" fmla="*/ 279514 h 309562"/>
                <a:gd name="connsiteX19" fmla="*/ 213557 w 617515"/>
                <a:gd name="connsiteY19" fmla="*/ 279514 h 309562"/>
                <a:gd name="connsiteX20" fmla="*/ 205010 w 617515"/>
                <a:gd name="connsiteY20" fmla="*/ 300146 h 309562"/>
                <a:gd name="connsiteX21" fmla="*/ 182279 w 617515"/>
                <a:gd name="connsiteY21" fmla="*/ 309562 h 309562"/>
                <a:gd name="connsiteX22" fmla="*/ 139189 w 617515"/>
                <a:gd name="connsiteY22" fmla="*/ 309562 h 309562"/>
                <a:gd name="connsiteX23" fmla="*/ 116458 w 617515"/>
                <a:gd name="connsiteY23" fmla="*/ 300146 h 309562"/>
                <a:gd name="connsiteX24" fmla="*/ 107911 w 617515"/>
                <a:gd name="connsiteY24" fmla="*/ 279514 h 309562"/>
                <a:gd name="connsiteX25" fmla="*/ 95323 w 617515"/>
                <a:gd name="connsiteY25" fmla="*/ 279514 h 309562"/>
                <a:gd name="connsiteX26" fmla="*/ 0 w 617515"/>
                <a:gd name="connsiteY26" fmla="*/ 184191 h 309562"/>
                <a:gd name="connsiteX0" fmla="*/ 0 w 617515"/>
                <a:gd name="connsiteY0" fmla="*/ 184191 h 309562"/>
                <a:gd name="connsiteX1" fmla="*/ 0 w 617515"/>
                <a:gd name="connsiteY1" fmla="*/ 125371 h 309562"/>
                <a:gd name="connsiteX2" fmla="*/ 95323 w 617515"/>
                <a:gd name="connsiteY2" fmla="*/ 30048 h 309562"/>
                <a:gd name="connsiteX3" fmla="*/ 107911 w 617515"/>
                <a:gd name="connsiteY3" fmla="*/ 30048 h 309562"/>
                <a:gd name="connsiteX4" fmla="*/ 116458 w 617515"/>
                <a:gd name="connsiteY4" fmla="*/ 9416 h 309562"/>
                <a:gd name="connsiteX5" fmla="*/ 139189 w 617515"/>
                <a:gd name="connsiteY5" fmla="*/ 0 h 309562"/>
                <a:gd name="connsiteX6" fmla="*/ 182279 w 617515"/>
                <a:gd name="connsiteY6" fmla="*/ 0 h 309562"/>
                <a:gd name="connsiteX7" fmla="*/ 205010 w 617515"/>
                <a:gd name="connsiteY7" fmla="*/ 9416 h 309562"/>
                <a:gd name="connsiteX8" fmla="*/ 213557 w 617515"/>
                <a:gd name="connsiteY8" fmla="*/ 30048 h 309562"/>
                <a:gd name="connsiteX9" fmla="*/ 252339 w 617515"/>
                <a:gd name="connsiteY9" fmla="*/ 30048 h 309562"/>
                <a:gd name="connsiteX10" fmla="*/ 319742 w 617515"/>
                <a:gd name="connsiteY10" fmla="*/ 57968 h 309562"/>
                <a:gd name="connsiteX11" fmla="*/ 336441 w 617515"/>
                <a:gd name="connsiteY11" fmla="*/ 82735 h 309562"/>
                <a:gd name="connsiteX12" fmla="*/ 522692 w 617515"/>
                <a:gd name="connsiteY12" fmla="*/ 80848 h 309562"/>
                <a:gd name="connsiteX13" fmla="*/ 617515 w 617515"/>
                <a:gd name="connsiteY13" fmla="*/ 160167 h 309562"/>
                <a:gd name="connsiteX14" fmla="*/ 491168 w 617515"/>
                <a:gd name="connsiteY14" fmla="*/ 247450 h 309562"/>
                <a:gd name="connsiteX15" fmla="*/ 330992 w 617515"/>
                <a:gd name="connsiteY15" fmla="*/ 235629 h 309562"/>
                <a:gd name="connsiteX16" fmla="*/ 330992 w 617515"/>
                <a:gd name="connsiteY16" fmla="*/ 234909 h 309562"/>
                <a:gd name="connsiteX17" fmla="*/ 319742 w 617515"/>
                <a:gd name="connsiteY17" fmla="*/ 251594 h 309562"/>
                <a:gd name="connsiteX18" fmla="*/ 252339 w 617515"/>
                <a:gd name="connsiteY18" fmla="*/ 279514 h 309562"/>
                <a:gd name="connsiteX19" fmla="*/ 213557 w 617515"/>
                <a:gd name="connsiteY19" fmla="*/ 279514 h 309562"/>
                <a:gd name="connsiteX20" fmla="*/ 205010 w 617515"/>
                <a:gd name="connsiteY20" fmla="*/ 300146 h 309562"/>
                <a:gd name="connsiteX21" fmla="*/ 182279 w 617515"/>
                <a:gd name="connsiteY21" fmla="*/ 309562 h 309562"/>
                <a:gd name="connsiteX22" fmla="*/ 139189 w 617515"/>
                <a:gd name="connsiteY22" fmla="*/ 309562 h 309562"/>
                <a:gd name="connsiteX23" fmla="*/ 116458 w 617515"/>
                <a:gd name="connsiteY23" fmla="*/ 300146 h 309562"/>
                <a:gd name="connsiteX24" fmla="*/ 107911 w 617515"/>
                <a:gd name="connsiteY24" fmla="*/ 279514 h 309562"/>
                <a:gd name="connsiteX25" fmla="*/ 95323 w 617515"/>
                <a:gd name="connsiteY25" fmla="*/ 279514 h 309562"/>
                <a:gd name="connsiteX26" fmla="*/ 0 w 617515"/>
                <a:gd name="connsiteY26" fmla="*/ 184191 h 309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17515" h="309562">
                  <a:moveTo>
                    <a:pt x="0" y="184191"/>
                  </a:moveTo>
                  <a:lnTo>
                    <a:pt x="0" y="125371"/>
                  </a:lnTo>
                  <a:cubicBezTo>
                    <a:pt x="0" y="72726"/>
                    <a:pt x="42678" y="30048"/>
                    <a:pt x="95323" y="30048"/>
                  </a:cubicBezTo>
                  <a:lnTo>
                    <a:pt x="107911" y="30048"/>
                  </a:lnTo>
                  <a:lnTo>
                    <a:pt x="116458" y="9416"/>
                  </a:lnTo>
                  <a:cubicBezTo>
                    <a:pt x="122275" y="3598"/>
                    <a:pt x="130312" y="0"/>
                    <a:pt x="139189" y="0"/>
                  </a:cubicBezTo>
                  <a:lnTo>
                    <a:pt x="182279" y="0"/>
                  </a:lnTo>
                  <a:cubicBezTo>
                    <a:pt x="191156" y="0"/>
                    <a:pt x="199193" y="3598"/>
                    <a:pt x="205010" y="9416"/>
                  </a:cubicBezTo>
                  <a:lnTo>
                    <a:pt x="213557" y="30048"/>
                  </a:lnTo>
                  <a:lnTo>
                    <a:pt x="252339" y="30048"/>
                  </a:lnTo>
                  <a:cubicBezTo>
                    <a:pt x="278662" y="30048"/>
                    <a:pt x="302492" y="40718"/>
                    <a:pt x="319742" y="57968"/>
                  </a:cubicBezTo>
                  <a:lnTo>
                    <a:pt x="336441" y="82735"/>
                  </a:lnTo>
                  <a:lnTo>
                    <a:pt x="522692" y="80848"/>
                  </a:lnTo>
                  <a:lnTo>
                    <a:pt x="617515" y="160167"/>
                  </a:lnTo>
                  <a:lnTo>
                    <a:pt x="491168" y="247450"/>
                  </a:lnTo>
                  <a:lnTo>
                    <a:pt x="330992" y="235629"/>
                  </a:lnTo>
                  <a:lnTo>
                    <a:pt x="330992" y="234909"/>
                  </a:lnTo>
                  <a:lnTo>
                    <a:pt x="319742" y="251594"/>
                  </a:lnTo>
                  <a:cubicBezTo>
                    <a:pt x="302492" y="268845"/>
                    <a:pt x="278662" y="279514"/>
                    <a:pt x="252339" y="279514"/>
                  </a:cubicBezTo>
                  <a:lnTo>
                    <a:pt x="213557" y="279514"/>
                  </a:lnTo>
                  <a:lnTo>
                    <a:pt x="205010" y="300146"/>
                  </a:lnTo>
                  <a:cubicBezTo>
                    <a:pt x="199193" y="305964"/>
                    <a:pt x="191156" y="309562"/>
                    <a:pt x="182279" y="309562"/>
                  </a:cubicBezTo>
                  <a:lnTo>
                    <a:pt x="139189" y="309562"/>
                  </a:lnTo>
                  <a:cubicBezTo>
                    <a:pt x="130312" y="309562"/>
                    <a:pt x="122275" y="305964"/>
                    <a:pt x="116458" y="300146"/>
                  </a:cubicBezTo>
                  <a:lnTo>
                    <a:pt x="107911" y="279514"/>
                  </a:lnTo>
                  <a:lnTo>
                    <a:pt x="95323" y="279514"/>
                  </a:lnTo>
                  <a:cubicBezTo>
                    <a:pt x="42678" y="279514"/>
                    <a:pt x="0" y="236836"/>
                    <a:pt x="0" y="184191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4" name="Freeform 16"/>
            <p:cNvSpPr>
              <a:spLocks/>
            </p:cNvSpPr>
            <p:nvPr/>
          </p:nvSpPr>
          <p:spPr bwMode="auto">
            <a:xfrm>
              <a:off x="11046711" y="5029416"/>
              <a:ext cx="104877" cy="170653"/>
            </a:xfrm>
            <a:custGeom>
              <a:avLst/>
              <a:gdLst>
                <a:gd name="T0" fmla="*/ 0 w 47"/>
                <a:gd name="T1" fmla="*/ 94 h 94"/>
                <a:gd name="T2" fmla="*/ 0 w 47"/>
                <a:gd name="T3" fmla="*/ 0 h 94"/>
                <a:gd name="T4" fmla="*/ 47 w 47"/>
                <a:gd name="T5" fmla="*/ 47 h 94"/>
                <a:gd name="T6" fmla="*/ 0 w 47"/>
                <a:gd name="T7" fmla="*/ 94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" h="94">
                  <a:moveTo>
                    <a:pt x="0" y="94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6" y="0"/>
                    <a:pt x="47" y="21"/>
                    <a:pt x="47" y="47"/>
                  </a:cubicBezTo>
                  <a:cubicBezTo>
                    <a:pt x="47" y="73"/>
                    <a:pt x="26" y="94"/>
                    <a:pt x="0" y="94"/>
                  </a:cubicBezTo>
                  <a:close/>
                </a:path>
              </a:pathLst>
            </a:custGeom>
            <a:solidFill>
              <a:srgbClr val="FDB813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</a:endParaRPr>
            </a:p>
          </p:txBody>
        </p:sp>
        <p:grpSp>
          <p:nvGrpSpPr>
            <p:cNvPr id="55" name="Group 54"/>
            <p:cNvGrpSpPr/>
            <p:nvPr/>
          </p:nvGrpSpPr>
          <p:grpSpPr>
            <a:xfrm flipH="1">
              <a:off x="10220199" y="4673037"/>
              <a:ext cx="200204" cy="842863"/>
              <a:chOff x="6431780" y="1926236"/>
              <a:chExt cx="238124" cy="1002506"/>
            </a:xfrm>
          </p:grpSpPr>
          <p:sp>
            <p:nvSpPr>
              <p:cNvPr id="99" name="Rounded Rectangle 98"/>
              <p:cNvSpPr/>
              <p:nvPr/>
            </p:nvSpPr>
            <p:spPr bwMode="auto">
              <a:xfrm>
                <a:off x="6552349" y="2757292"/>
                <a:ext cx="106928" cy="171450"/>
              </a:xfrm>
              <a:prstGeom prst="roundRect">
                <a:avLst>
                  <a:gd name="adj" fmla="val 50000"/>
                </a:avLst>
              </a:prstGeom>
              <a:solidFill>
                <a:srgbClr val="FFC00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00" name="Freeform 99"/>
              <p:cNvSpPr/>
              <p:nvPr/>
            </p:nvSpPr>
            <p:spPr bwMode="auto">
              <a:xfrm>
                <a:off x="6431780" y="1926236"/>
                <a:ext cx="238124" cy="895350"/>
              </a:xfrm>
              <a:custGeom>
                <a:avLst/>
                <a:gdLst>
                  <a:gd name="connsiteX0" fmla="*/ 7144 w 238125"/>
                  <a:gd name="connsiteY0" fmla="*/ 0 h 833437"/>
                  <a:gd name="connsiteX1" fmla="*/ 238125 w 238125"/>
                  <a:gd name="connsiteY1" fmla="*/ 833437 h 833437"/>
                  <a:gd name="connsiteX2" fmla="*/ 109537 w 238125"/>
                  <a:gd name="connsiteY2" fmla="*/ 833437 h 833437"/>
                  <a:gd name="connsiteX3" fmla="*/ 0 w 238125"/>
                  <a:gd name="connsiteY3" fmla="*/ 361950 h 833437"/>
                  <a:gd name="connsiteX4" fmla="*/ 7144 w 238125"/>
                  <a:gd name="connsiteY4" fmla="*/ 0 h 833437"/>
                  <a:gd name="connsiteX0" fmla="*/ 7144 w 238125"/>
                  <a:gd name="connsiteY0" fmla="*/ 0 h 833437"/>
                  <a:gd name="connsiteX1" fmla="*/ 238125 w 238125"/>
                  <a:gd name="connsiteY1" fmla="*/ 833437 h 833437"/>
                  <a:gd name="connsiteX2" fmla="*/ 109537 w 238125"/>
                  <a:gd name="connsiteY2" fmla="*/ 833437 h 833437"/>
                  <a:gd name="connsiteX3" fmla="*/ 0 w 238125"/>
                  <a:gd name="connsiteY3" fmla="*/ 361950 h 833437"/>
                  <a:gd name="connsiteX4" fmla="*/ 7144 w 238125"/>
                  <a:gd name="connsiteY4" fmla="*/ 0 h 833437"/>
                  <a:gd name="connsiteX0" fmla="*/ 7144 w 238125"/>
                  <a:gd name="connsiteY0" fmla="*/ 0 h 833437"/>
                  <a:gd name="connsiteX1" fmla="*/ 238125 w 238125"/>
                  <a:gd name="connsiteY1" fmla="*/ 833437 h 833437"/>
                  <a:gd name="connsiteX2" fmla="*/ 109537 w 238125"/>
                  <a:gd name="connsiteY2" fmla="*/ 833437 h 833437"/>
                  <a:gd name="connsiteX3" fmla="*/ 0 w 238125"/>
                  <a:gd name="connsiteY3" fmla="*/ 361950 h 833437"/>
                  <a:gd name="connsiteX4" fmla="*/ 7144 w 238125"/>
                  <a:gd name="connsiteY4" fmla="*/ 0 h 833437"/>
                  <a:gd name="connsiteX0" fmla="*/ 7144 w 238125"/>
                  <a:gd name="connsiteY0" fmla="*/ 0 h 833437"/>
                  <a:gd name="connsiteX1" fmla="*/ 238125 w 238125"/>
                  <a:gd name="connsiteY1" fmla="*/ 833437 h 833437"/>
                  <a:gd name="connsiteX2" fmla="*/ 109537 w 238125"/>
                  <a:gd name="connsiteY2" fmla="*/ 833437 h 833437"/>
                  <a:gd name="connsiteX3" fmla="*/ 0 w 238125"/>
                  <a:gd name="connsiteY3" fmla="*/ 361950 h 833437"/>
                  <a:gd name="connsiteX4" fmla="*/ 7144 w 238125"/>
                  <a:gd name="connsiteY4" fmla="*/ 0 h 833437"/>
                  <a:gd name="connsiteX0" fmla="*/ 7144 w 238125"/>
                  <a:gd name="connsiteY0" fmla="*/ 0 h 833437"/>
                  <a:gd name="connsiteX1" fmla="*/ 238125 w 238125"/>
                  <a:gd name="connsiteY1" fmla="*/ 833437 h 833437"/>
                  <a:gd name="connsiteX2" fmla="*/ 109537 w 238125"/>
                  <a:gd name="connsiteY2" fmla="*/ 833437 h 833437"/>
                  <a:gd name="connsiteX3" fmla="*/ 0 w 238125"/>
                  <a:gd name="connsiteY3" fmla="*/ 361950 h 833437"/>
                  <a:gd name="connsiteX4" fmla="*/ 7144 w 238125"/>
                  <a:gd name="connsiteY4" fmla="*/ 0 h 833437"/>
                  <a:gd name="connsiteX0" fmla="*/ 7144 w 238125"/>
                  <a:gd name="connsiteY0" fmla="*/ 0 h 833437"/>
                  <a:gd name="connsiteX1" fmla="*/ 238125 w 238125"/>
                  <a:gd name="connsiteY1" fmla="*/ 833437 h 833437"/>
                  <a:gd name="connsiteX2" fmla="*/ 109537 w 238125"/>
                  <a:gd name="connsiteY2" fmla="*/ 833437 h 833437"/>
                  <a:gd name="connsiteX3" fmla="*/ 0 w 238125"/>
                  <a:gd name="connsiteY3" fmla="*/ 361950 h 833437"/>
                  <a:gd name="connsiteX4" fmla="*/ 7144 w 238125"/>
                  <a:gd name="connsiteY4" fmla="*/ 0 h 833437"/>
                  <a:gd name="connsiteX0" fmla="*/ 33338 w 238125"/>
                  <a:gd name="connsiteY0" fmla="*/ 0 h 895350"/>
                  <a:gd name="connsiteX1" fmla="*/ 238125 w 238125"/>
                  <a:gd name="connsiteY1" fmla="*/ 895350 h 895350"/>
                  <a:gd name="connsiteX2" fmla="*/ 109537 w 238125"/>
                  <a:gd name="connsiteY2" fmla="*/ 895350 h 895350"/>
                  <a:gd name="connsiteX3" fmla="*/ 0 w 238125"/>
                  <a:gd name="connsiteY3" fmla="*/ 423863 h 895350"/>
                  <a:gd name="connsiteX4" fmla="*/ 33338 w 238125"/>
                  <a:gd name="connsiteY4" fmla="*/ 0 h 895350"/>
                  <a:gd name="connsiteX0" fmla="*/ 9525 w 214312"/>
                  <a:gd name="connsiteY0" fmla="*/ 0 h 895350"/>
                  <a:gd name="connsiteX1" fmla="*/ 214312 w 214312"/>
                  <a:gd name="connsiteY1" fmla="*/ 895350 h 895350"/>
                  <a:gd name="connsiteX2" fmla="*/ 85724 w 214312"/>
                  <a:gd name="connsiteY2" fmla="*/ 895350 h 895350"/>
                  <a:gd name="connsiteX3" fmla="*/ 0 w 214312"/>
                  <a:gd name="connsiteY3" fmla="*/ 350045 h 895350"/>
                  <a:gd name="connsiteX4" fmla="*/ 9525 w 214312"/>
                  <a:gd name="connsiteY4" fmla="*/ 0 h 895350"/>
                  <a:gd name="connsiteX0" fmla="*/ 33337 w 238124"/>
                  <a:gd name="connsiteY0" fmla="*/ 0 h 895350"/>
                  <a:gd name="connsiteX1" fmla="*/ 238124 w 238124"/>
                  <a:gd name="connsiteY1" fmla="*/ 895350 h 895350"/>
                  <a:gd name="connsiteX2" fmla="*/ 109536 w 238124"/>
                  <a:gd name="connsiteY2" fmla="*/ 895350 h 895350"/>
                  <a:gd name="connsiteX3" fmla="*/ 0 w 238124"/>
                  <a:gd name="connsiteY3" fmla="*/ 350045 h 895350"/>
                  <a:gd name="connsiteX4" fmla="*/ 33337 w 238124"/>
                  <a:gd name="connsiteY4" fmla="*/ 0 h 895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8124" h="895350">
                    <a:moveTo>
                      <a:pt x="33337" y="0"/>
                    </a:moveTo>
                    <a:cubicBezTo>
                      <a:pt x="129381" y="253999"/>
                      <a:pt x="215899" y="558007"/>
                      <a:pt x="238124" y="895350"/>
                    </a:cubicBezTo>
                    <a:lnTo>
                      <a:pt x="109536" y="895350"/>
                    </a:lnTo>
                    <a:cubicBezTo>
                      <a:pt x="94456" y="776289"/>
                      <a:pt x="74612" y="504826"/>
                      <a:pt x="0" y="350045"/>
                    </a:cubicBezTo>
                    <a:lnTo>
                      <a:pt x="33337" y="0"/>
                    </a:ln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56" name="Freeform 55"/>
            <p:cNvSpPr/>
            <p:nvPr/>
          </p:nvSpPr>
          <p:spPr bwMode="auto">
            <a:xfrm flipH="1">
              <a:off x="10382170" y="5408192"/>
              <a:ext cx="441604" cy="962583"/>
            </a:xfrm>
            <a:custGeom>
              <a:avLst/>
              <a:gdLst>
                <a:gd name="connsiteX0" fmla="*/ 525245 w 525245"/>
                <a:gd name="connsiteY0" fmla="*/ 0 h 1144902"/>
                <a:gd name="connsiteX1" fmla="*/ 312606 w 525245"/>
                <a:gd name="connsiteY1" fmla="*/ 0 h 1144902"/>
                <a:gd name="connsiteX2" fmla="*/ 312606 w 525245"/>
                <a:gd name="connsiteY2" fmla="*/ 33054 h 1144902"/>
                <a:gd name="connsiteX3" fmla="*/ 198983 w 525245"/>
                <a:gd name="connsiteY3" fmla="*/ 33054 h 1144902"/>
                <a:gd name="connsiteX4" fmla="*/ 198983 w 525245"/>
                <a:gd name="connsiteY4" fmla="*/ 0 h 1144902"/>
                <a:gd name="connsiteX5" fmla="*/ 0 w 525245"/>
                <a:gd name="connsiteY5" fmla="*/ 0 h 1144902"/>
                <a:gd name="connsiteX6" fmla="*/ 0 w 525245"/>
                <a:gd name="connsiteY6" fmla="*/ 45719 h 1144902"/>
                <a:gd name="connsiteX7" fmla="*/ 20739 w 525245"/>
                <a:gd name="connsiteY7" fmla="*/ 45719 h 1144902"/>
                <a:gd name="connsiteX8" fmla="*/ 73857 w 525245"/>
                <a:gd name="connsiteY8" fmla="*/ 1144902 h 1144902"/>
                <a:gd name="connsiteX9" fmla="*/ 223876 w 525245"/>
                <a:gd name="connsiteY9" fmla="*/ 1142521 h 1144902"/>
                <a:gd name="connsiteX10" fmla="*/ 263646 w 525245"/>
                <a:gd name="connsiteY10" fmla="*/ 218443 h 1144902"/>
                <a:gd name="connsiteX11" fmla="*/ 267345 w 525245"/>
                <a:gd name="connsiteY11" fmla="*/ 217759 h 1144902"/>
                <a:gd name="connsiteX12" fmla="*/ 302458 w 525245"/>
                <a:gd name="connsiteY12" fmla="*/ 1135377 h 1144902"/>
                <a:gd name="connsiteX13" fmla="*/ 454857 w 525245"/>
                <a:gd name="connsiteY13" fmla="*/ 1132996 h 1144902"/>
                <a:gd name="connsiteX14" fmla="*/ 500546 w 525245"/>
                <a:gd name="connsiteY14" fmla="*/ 45719 h 1144902"/>
                <a:gd name="connsiteX15" fmla="*/ 525245 w 525245"/>
                <a:gd name="connsiteY15" fmla="*/ 45719 h 1144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5245" h="1144902">
                  <a:moveTo>
                    <a:pt x="525245" y="0"/>
                  </a:moveTo>
                  <a:lnTo>
                    <a:pt x="312606" y="0"/>
                  </a:lnTo>
                  <a:lnTo>
                    <a:pt x="312606" y="33054"/>
                  </a:lnTo>
                  <a:lnTo>
                    <a:pt x="198983" y="33054"/>
                  </a:lnTo>
                  <a:lnTo>
                    <a:pt x="198983" y="0"/>
                  </a:lnTo>
                  <a:lnTo>
                    <a:pt x="0" y="0"/>
                  </a:lnTo>
                  <a:lnTo>
                    <a:pt x="0" y="45719"/>
                  </a:lnTo>
                  <a:lnTo>
                    <a:pt x="20739" y="45719"/>
                  </a:lnTo>
                  <a:lnTo>
                    <a:pt x="73857" y="1144902"/>
                  </a:lnTo>
                  <a:cubicBezTo>
                    <a:pt x="126244" y="1144902"/>
                    <a:pt x="171489" y="1142521"/>
                    <a:pt x="223876" y="1142521"/>
                  </a:cubicBezTo>
                  <a:lnTo>
                    <a:pt x="263646" y="218443"/>
                  </a:lnTo>
                  <a:lnTo>
                    <a:pt x="267345" y="217759"/>
                  </a:lnTo>
                  <a:lnTo>
                    <a:pt x="302458" y="1135377"/>
                  </a:lnTo>
                  <a:lnTo>
                    <a:pt x="454857" y="1132996"/>
                  </a:lnTo>
                  <a:lnTo>
                    <a:pt x="500546" y="45719"/>
                  </a:lnTo>
                  <a:lnTo>
                    <a:pt x="525245" y="45719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7" name="Freeform 56"/>
            <p:cNvSpPr/>
            <p:nvPr/>
          </p:nvSpPr>
          <p:spPr bwMode="auto">
            <a:xfrm>
              <a:off x="10623040" y="6355426"/>
              <a:ext cx="157822" cy="78237"/>
            </a:xfrm>
            <a:custGeom>
              <a:avLst/>
              <a:gdLst>
                <a:gd name="connsiteX0" fmla="*/ 93857 w 187714"/>
                <a:gd name="connsiteY0" fmla="*/ 0 h 93056"/>
                <a:gd name="connsiteX1" fmla="*/ 180525 w 187714"/>
                <a:gd name="connsiteY1" fmla="*/ 57448 h 93056"/>
                <a:gd name="connsiteX2" fmla="*/ 187714 w 187714"/>
                <a:gd name="connsiteY2" fmla="*/ 93056 h 93056"/>
                <a:gd name="connsiteX3" fmla="*/ 0 w 187714"/>
                <a:gd name="connsiteY3" fmla="*/ 93056 h 93056"/>
                <a:gd name="connsiteX4" fmla="*/ 7189 w 187714"/>
                <a:gd name="connsiteY4" fmla="*/ 57448 h 93056"/>
                <a:gd name="connsiteX5" fmla="*/ 93857 w 187714"/>
                <a:gd name="connsiteY5" fmla="*/ 0 h 93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7714" h="93056">
                  <a:moveTo>
                    <a:pt x="93857" y="0"/>
                  </a:moveTo>
                  <a:cubicBezTo>
                    <a:pt x="132818" y="0"/>
                    <a:pt x="166246" y="23688"/>
                    <a:pt x="180525" y="57448"/>
                  </a:cubicBezTo>
                  <a:lnTo>
                    <a:pt x="187714" y="93056"/>
                  </a:lnTo>
                  <a:lnTo>
                    <a:pt x="0" y="93056"/>
                  </a:lnTo>
                  <a:lnTo>
                    <a:pt x="7189" y="57448"/>
                  </a:lnTo>
                  <a:cubicBezTo>
                    <a:pt x="21468" y="23688"/>
                    <a:pt x="54896" y="0"/>
                    <a:pt x="93857" y="0"/>
                  </a:cubicBezTo>
                  <a:close/>
                </a:path>
              </a:pathLst>
            </a:custGeom>
            <a:solidFill>
              <a:schemeClr val="tx1">
                <a:lumMod val="95000"/>
                <a:lumOff val="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8" name="Freeform 57"/>
            <p:cNvSpPr/>
            <p:nvPr/>
          </p:nvSpPr>
          <p:spPr bwMode="auto">
            <a:xfrm>
              <a:off x="10424835" y="6347417"/>
              <a:ext cx="157822" cy="78237"/>
            </a:xfrm>
            <a:custGeom>
              <a:avLst/>
              <a:gdLst>
                <a:gd name="connsiteX0" fmla="*/ 93857 w 187714"/>
                <a:gd name="connsiteY0" fmla="*/ 0 h 93056"/>
                <a:gd name="connsiteX1" fmla="*/ 180525 w 187714"/>
                <a:gd name="connsiteY1" fmla="*/ 57448 h 93056"/>
                <a:gd name="connsiteX2" fmla="*/ 187714 w 187714"/>
                <a:gd name="connsiteY2" fmla="*/ 93056 h 93056"/>
                <a:gd name="connsiteX3" fmla="*/ 0 w 187714"/>
                <a:gd name="connsiteY3" fmla="*/ 93056 h 93056"/>
                <a:gd name="connsiteX4" fmla="*/ 7189 w 187714"/>
                <a:gd name="connsiteY4" fmla="*/ 57448 h 93056"/>
                <a:gd name="connsiteX5" fmla="*/ 93857 w 187714"/>
                <a:gd name="connsiteY5" fmla="*/ 0 h 93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7714" h="93056">
                  <a:moveTo>
                    <a:pt x="93857" y="0"/>
                  </a:moveTo>
                  <a:cubicBezTo>
                    <a:pt x="132818" y="0"/>
                    <a:pt x="166246" y="23688"/>
                    <a:pt x="180525" y="57448"/>
                  </a:cubicBezTo>
                  <a:lnTo>
                    <a:pt x="187714" y="93056"/>
                  </a:lnTo>
                  <a:lnTo>
                    <a:pt x="0" y="93056"/>
                  </a:lnTo>
                  <a:lnTo>
                    <a:pt x="7189" y="57448"/>
                  </a:lnTo>
                  <a:cubicBezTo>
                    <a:pt x="21468" y="23688"/>
                    <a:pt x="54896" y="0"/>
                    <a:pt x="93857" y="0"/>
                  </a:cubicBezTo>
                  <a:close/>
                </a:path>
              </a:pathLst>
            </a:custGeom>
            <a:solidFill>
              <a:schemeClr val="tx1">
                <a:lumMod val="95000"/>
                <a:lumOff val="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9" name="Freeform 58"/>
            <p:cNvSpPr/>
            <p:nvPr/>
          </p:nvSpPr>
          <p:spPr bwMode="auto">
            <a:xfrm>
              <a:off x="10795715" y="4673037"/>
              <a:ext cx="262579" cy="515747"/>
            </a:xfrm>
            <a:custGeom>
              <a:avLst/>
              <a:gdLst>
                <a:gd name="connsiteX0" fmla="*/ 7144 w 238125"/>
                <a:gd name="connsiteY0" fmla="*/ 0 h 833437"/>
                <a:gd name="connsiteX1" fmla="*/ 238125 w 238125"/>
                <a:gd name="connsiteY1" fmla="*/ 833437 h 833437"/>
                <a:gd name="connsiteX2" fmla="*/ 109537 w 238125"/>
                <a:gd name="connsiteY2" fmla="*/ 833437 h 833437"/>
                <a:gd name="connsiteX3" fmla="*/ 0 w 238125"/>
                <a:gd name="connsiteY3" fmla="*/ 361950 h 833437"/>
                <a:gd name="connsiteX4" fmla="*/ 7144 w 238125"/>
                <a:gd name="connsiteY4" fmla="*/ 0 h 833437"/>
                <a:gd name="connsiteX0" fmla="*/ 7144 w 238125"/>
                <a:gd name="connsiteY0" fmla="*/ 0 h 833437"/>
                <a:gd name="connsiteX1" fmla="*/ 238125 w 238125"/>
                <a:gd name="connsiteY1" fmla="*/ 833437 h 833437"/>
                <a:gd name="connsiteX2" fmla="*/ 109537 w 238125"/>
                <a:gd name="connsiteY2" fmla="*/ 833437 h 833437"/>
                <a:gd name="connsiteX3" fmla="*/ 0 w 238125"/>
                <a:gd name="connsiteY3" fmla="*/ 361950 h 833437"/>
                <a:gd name="connsiteX4" fmla="*/ 7144 w 238125"/>
                <a:gd name="connsiteY4" fmla="*/ 0 h 833437"/>
                <a:gd name="connsiteX0" fmla="*/ 7144 w 238125"/>
                <a:gd name="connsiteY0" fmla="*/ 0 h 833437"/>
                <a:gd name="connsiteX1" fmla="*/ 238125 w 238125"/>
                <a:gd name="connsiteY1" fmla="*/ 833437 h 833437"/>
                <a:gd name="connsiteX2" fmla="*/ 109537 w 238125"/>
                <a:gd name="connsiteY2" fmla="*/ 833437 h 833437"/>
                <a:gd name="connsiteX3" fmla="*/ 0 w 238125"/>
                <a:gd name="connsiteY3" fmla="*/ 361950 h 833437"/>
                <a:gd name="connsiteX4" fmla="*/ 7144 w 238125"/>
                <a:gd name="connsiteY4" fmla="*/ 0 h 833437"/>
                <a:gd name="connsiteX0" fmla="*/ 7144 w 238125"/>
                <a:gd name="connsiteY0" fmla="*/ 0 h 833437"/>
                <a:gd name="connsiteX1" fmla="*/ 238125 w 238125"/>
                <a:gd name="connsiteY1" fmla="*/ 833437 h 833437"/>
                <a:gd name="connsiteX2" fmla="*/ 109537 w 238125"/>
                <a:gd name="connsiteY2" fmla="*/ 833437 h 833437"/>
                <a:gd name="connsiteX3" fmla="*/ 0 w 238125"/>
                <a:gd name="connsiteY3" fmla="*/ 361950 h 833437"/>
                <a:gd name="connsiteX4" fmla="*/ 7144 w 238125"/>
                <a:gd name="connsiteY4" fmla="*/ 0 h 833437"/>
                <a:gd name="connsiteX0" fmla="*/ 7144 w 238125"/>
                <a:gd name="connsiteY0" fmla="*/ 0 h 833437"/>
                <a:gd name="connsiteX1" fmla="*/ 238125 w 238125"/>
                <a:gd name="connsiteY1" fmla="*/ 833437 h 833437"/>
                <a:gd name="connsiteX2" fmla="*/ 109537 w 238125"/>
                <a:gd name="connsiteY2" fmla="*/ 833437 h 833437"/>
                <a:gd name="connsiteX3" fmla="*/ 0 w 238125"/>
                <a:gd name="connsiteY3" fmla="*/ 361950 h 833437"/>
                <a:gd name="connsiteX4" fmla="*/ 7144 w 238125"/>
                <a:gd name="connsiteY4" fmla="*/ 0 h 833437"/>
                <a:gd name="connsiteX0" fmla="*/ 7144 w 238125"/>
                <a:gd name="connsiteY0" fmla="*/ 0 h 833437"/>
                <a:gd name="connsiteX1" fmla="*/ 238125 w 238125"/>
                <a:gd name="connsiteY1" fmla="*/ 833437 h 833437"/>
                <a:gd name="connsiteX2" fmla="*/ 109537 w 238125"/>
                <a:gd name="connsiteY2" fmla="*/ 833437 h 833437"/>
                <a:gd name="connsiteX3" fmla="*/ 0 w 238125"/>
                <a:gd name="connsiteY3" fmla="*/ 361950 h 833437"/>
                <a:gd name="connsiteX4" fmla="*/ 7144 w 238125"/>
                <a:gd name="connsiteY4" fmla="*/ 0 h 833437"/>
                <a:gd name="connsiteX0" fmla="*/ 33338 w 238125"/>
                <a:gd name="connsiteY0" fmla="*/ 0 h 895350"/>
                <a:gd name="connsiteX1" fmla="*/ 238125 w 238125"/>
                <a:gd name="connsiteY1" fmla="*/ 895350 h 895350"/>
                <a:gd name="connsiteX2" fmla="*/ 109537 w 238125"/>
                <a:gd name="connsiteY2" fmla="*/ 895350 h 895350"/>
                <a:gd name="connsiteX3" fmla="*/ 0 w 238125"/>
                <a:gd name="connsiteY3" fmla="*/ 423863 h 895350"/>
                <a:gd name="connsiteX4" fmla="*/ 33338 w 238125"/>
                <a:gd name="connsiteY4" fmla="*/ 0 h 895350"/>
                <a:gd name="connsiteX0" fmla="*/ 9525 w 214312"/>
                <a:gd name="connsiteY0" fmla="*/ 0 h 895350"/>
                <a:gd name="connsiteX1" fmla="*/ 214312 w 214312"/>
                <a:gd name="connsiteY1" fmla="*/ 895350 h 895350"/>
                <a:gd name="connsiteX2" fmla="*/ 85724 w 214312"/>
                <a:gd name="connsiteY2" fmla="*/ 895350 h 895350"/>
                <a:gd name="connsiteX3" fmla="*/ 0 w 214312"/>
                <a:gd name="connsiteY3" fmla="*/ 350045 h 895350"/>
                <a:gd name="connsiteX4" fmla="*/ 9525 w 214312"/>
                <a:gd name="connsiteY4" fmla="*/ 0 h 895350"/>
                <a:gd name="connsiteX0" fmla="*/ 33337 w 238124"/>
                <a:gd name="connsiteY0" fmla="*/ 0 h 895350"/>
                <a:gd name="connsiteX1" fmla="*/ 238124 w 238124"/>
                <a:gd name="connsiteY1" fmla="*/ 895350 h 895350"/>
                <a:gd name="connsiteX2" fmla="*/ 109536 w 238124"/>
                <a:gd name="connsiteY2" fmla="*/ 895350 h 895350"/>
                <a:gd name="connsiteX3" fmla="*/ 0 w 238124"/>
                <a:gd name="connsiteY3" fmla="*/ 350045 h 895350"/>
                <a:gd name="connsiteX4" fmla="*/ 33337 w 238124"/>
                <a:gd name="connsiteY4" fmla="*/ 0 h 895350"/>
                <a:gd name="connsiteX0" fmla="*/ 33337 w 312313"/>
                <a:gd name="connsiteY0" fmla="*/ 0 h 895350"/>
                <a:gd name="connsiteX1" fmla="*/ 312313 w 312313"/>
                <a:gd name="connsiteY1" fmla="*/ 465057 h 895350"/>
                <a:gd name="connsiteX2" fmla="*/ 109536 w 312313"/>
                <a:gd name="connsiteY2" fmla="*/ 895350 h 895350"/>
                <a:gd name="connsiteX3" fmla="*/ 0 w 312313"/>
                <a:gd name="connsiteY3" fmla="*/ 350045 h 895350"/>
                <a:gd name="connsiteX4" fmla="*/ 33337 w 312313"/>
                <a:gd name="connsiteY4" fmla="*/ 0 h 895350"/>
                <a:gd name="connsiteX0" fmla="*/ 33337 w 312313"/>
                <a:gd name="connsiteY0" fmla="*/ 0 h 895350"/>
                <a:gd name="connsiteX1" fmla="*/ 312313 w 312313"/>
                <a:gd name="connsiteY1" fmla="*/ 465057 h 895350"/>
                <a:gd name="connsiteX2" fmla="*/ 109536 w 312313"/>
                <a:gd name="connsiteY2" fmla="*/ 895350 h 895350"/>
                <a:gd name="connsiteX3" fmla="*/ 0 w 312313"/>
                <a:gd name="connsiteY3" fmla="*/ 350045 h 895350"/>
                <a:gd name="connsiteX4" fmla="*/ 33337 w 312313"/>
                <a:gd name="connsiteY4" fmla="*/ 0 h 895350"/>
                <a:gd name="connsiteX0" fmla="*/ 33337 w 312313"/>
                <a:gd name="connsiteY0" fmla="*/ 0 h 613434"/>
                <a:gd name="connsiteX1" fmla="*/ 312313 w 312313"/>
                <a:gd name="connsiteY1" fmla="*/ 465057 h 613434"/>
                <a:gd name="connsiteX2" fmla="*/ 282643 w 312313"/>
                <a:gd name="connsiteY2" fmla="*/ 613434 h 613434"/>
                <a:gd name="connsiteX3" fmla="*/ 0 w 312313"/>
                <a:gd name="connsiteY3" fmla="*/ 350045 h 613434"/>
                <a:gd name="connsiteX4" fmla="*/ 33337 w 312313"/>
                <a:gd name="connsiteY4" fmla="*/ 0 h 613434"/>
                <a:gd name="connsiteX0" fmla="*/ 33337 w 312313"/>
                <a:gd name="connsiteY0" fmla="*/ 0 h 613434"/>
                <a:gd name="connsiteX1" fmla="*/ 312313 w 312313"/>
                <a:gd name="connsiteY1" fmla="*/ 465057 h 613434"/>
                <a:gd name="connsiteX2" fmla="*/ 282643 w 312313"/>
                <a:gd name="connsiteY2" fmla="*/ 613434 h 613434"/>
                <a:gd name="connsiteX3" fmla="*/ 0 w 312313"/>
                <a:gd name="connsiteY3" fmla="*/ 350045 h 613434"/>
                <a:gd name="connsiteX4" fmla="*/ 33337 w 312313"/>
                <a:gd name="connsiteY4" fmla="*/ 0 h 613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2313" h="613434">
                  <a:moveTo>
                    <a:pt x="33337" y="0"/>
                  </a:moveTo>
                  <a:cubicBezTo>
                    <a:pt x="129381" y="253999"/>
                    <a:pt x="126872" y="177173"/>
                    <a:pt x="312313" y="465057"/>
                  </a:cubicBezTo>
                  <a:cubicBezTo>
                    <a:pt x="269450" y="465057"/>
                    <a:pt x="325506" y="613434"/>
                    <a:pt x="282643" y="613434"/>
                  </a:cubicBezTo>
                  <a:cubicBezTo>
                    <a:pt x="198321" y="538886"/>
                    <a:pt x="74612" y="504826"/>
                    <a:pt x="0" y="350045"/>
                  </a:cubicBezTo>
                  <a:lnTo>
                    <a:pt x="33337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0" name="Rectangle 109"/>
            <p:cNvSpPr/>
            <p:nvPr/>
          </p:nvSpPr>
          <p:spPr bwMode="auto">
            <a:xfrm>
              <a:off x="10438252" y="4659637"/>
              <a:ext cx="328337" cy="231168"/>
            </a:xfrm>
            <a:custGeom>
              <a:avLst/>
              <a:gdLst>
                <a:gd name="connsiteX0" fmla="*/ 0 w 390296"/>
                <a:gd name="connsiteY0" fmla="*/ 0 h 571500"/>
                <a:gd name="connsiteX1" fmla="*/ 390296 w 390296"/>
                <a:gd name="connsiteY1" fmla="*/ 0 h 571500"/>
                <a:gd name="connsiteX2" fmla="*/ 390296 w 390296"/>
                <a:gd name="connsiteY2" fmla="*/ 571500 h 571500"/>
                <a:gd name="connsiteX3" fmla="*/ 0 w 390296"/>
                <a:gd name="connsiteY3" fmla="*/ 571500 h 571500"/>
                <a:gd name="connsiteX4" fmla="*/ 0 w 390296"/>
                <a:gd name="connsiteY4" fmla="*/ 0 h 571500"/>
                <a:gd name="connsiteX0" fmla="*/ 0 w 390296"/>
                <a:gd name="connsiteY0" fmla="*/ 2833 h 574333"/>
                <a:gd name="connsiteX1" fmla="*/ 193612 w 390296"/>
                <a:gd name="connsiteY1" fmla="*/ 0 h 574333"/>
                <a:gd name="connsiteX2" fmla="*/ 390296 w 390296"/>
                <a:gd name="connsiteY2" fmla="*/ 2833 h 574333"/>
                <a:gd name="connsiteX3" fmla="*/ 390296 w 390296"/>
                <a:gd name="connsiteY3" fmla="*/ 574333 h 574333"/>
                <a:gd name="connsiteX4" fmla="*/ 0 w 390296"/>
                <a:gd name="connsiteY4" fmla="*/ 574333 h 574333"/>
                <a:gd name="connsiteX5" fmla="*/ 0 w 390296"/>
                <a:gd name="connsiteY5" fmla="*/ 2833 h 574333"/>
                <a:gd name="connsiteX0" fmla="*/ 0 w 390296"/>
                <a:gd name="connsiteY0" fmla="*/ 57601 h 629101"/>
                <a:gd name="connsiteX1" fmla="*/ 188850 w 390296"/>
                <a:gd name="connsiteY1" fmla="*/ 0 h 629101"/>
                <a:gd name="connsiteX2" fmla="*/ 390296 w 390296"/>
                <a:gd name="connsiteY2" fmla="*/ 57601 h 629101"/>
                <a:gd name="connsiteX3" fmla="*/ 390296 w 390296"/>
                <a:gd name="connsiteY3" fmla="*/ 629101 h 629101"/>
                <a:gd name="connsiteX4" fmla="*/ 0 w 390296"/>
                <a:gd name="connsiteY4" fmla="*/ 629101 h 629101"/>
                <a:gd name="connsiteX5" fmla="*/ 0 w 390296"/>
                <a:gd name="connsiteY5" fmla="*/ 57601 h 629101"/>
                <a:gd name="connsiteX0" fmla="*/ 0 w 390296"/>
                <a:gd name="connsiteY0" fmla="*/ 57601 h 629101"/>
                <a:gd name="connsiteX1" fmla="*/ 188850 w 390296"/>
                <a:gd name="connsiteY1" fmla="*/ 0 h 629101"/>
                <a:gd name="connsiteX2" fmla="*/ 390296 w 390296"/>
                <a:gd name="connsiteY2" fmla="*/ 57601 h 629101"/>
                <a:gd name="connsiteX3" fmla="*/ 388874 w 390296"/>
                <a:gd name="connsiteY3" fmla="*/ 328612 h 629101"/>
                <a:gd name="connsiteX4" fmla="*/ 390296 w 390296"/>
                <a:gd name="connsiteY4" fmla="*/ 629101 h 629101"/>
                <a:gd name="connsiteX5" fmla="*/ 0 w 390296"/>
                <a:gd name="connsiteY5" fmla="*/ 629101 h 629101"/>
                <a:gd name="connsiteX6" fmla="*/ 0 w 390296"/>
                <a:gd name="connsiteY6" fmla="*/ 57601 h 629101"/>
                <a:gd name="connsiteX0" fmla="*/ 1651 w 391947"/>
                <a:gd name="connsiteY0" fmla="*/ 57601 h 629101"/>
                <a:gd name="connsiteX1" fmla="*/ 190501 w 391947"/>
                <a:gd name="connsiteY1" fmla="*/ 0 h 629101"/>
                <a:gd name="connsiteX2" fmla="*/ 391947 w 391947"/>
                <a:gd name="connsiteY2" fmla="*/ 57601 h 629101"/>
                <a:gd name="connsiteX3" fmla="*/ 390525 w 391947"/>
                <a:gd name="connsiteY3" fmla="*/ 328612 h 629101"/>
                <a:gd name="connsiteX4" fmla="*/ 391947 w 391947"/>
                <a:gd name="connsiteY4" fmla="*/ 629101 h 629101"/>
                <a:gd name="connsiteX5" fmla="*/ 1651 w 391947"/>
                <a:gd name="connsiteY5" fmla="*/ 629101 h 629101"/>
                <a:gd name="connsiteX6" fmla="*/ 0 w 391947"/>
                <a:gd name="connsiteY6" fmla="*/ 311944 h 629101"/>
                <a:gd name="connsiteX7" fmla="*/ 1651 w 391947"/>
                <a:gd name="connsiteY7" fmla="*/ 57601 h 629101"/>
                <a:gd name="connsiteX0" fmla="*/ 1651 w 391947"/>
                <a:gd name="connsiteY0" fmla="*/ 57601 h 629101"/>
                <a:gd name="connsiteX1" fmla="*/ 190501 w 391947"/>
                <a:gd name="connsiteY1" fmla="*/ 0 h 629101"/>
                <a:gd name="connsiteX2" fmla="*/ 391947 w 391947"/>
                <a:gd name="connsiteY2" fmla="*/ 57601 h 629101"/>
                <a:gd name="connsiteX3" fmla="*/ 390525 w 391947"/>
                <a:gd name="connsiteY3" fmla="*/ 328612 h 629101"/>
                <a:gd name="connsiteX4" fmla="*/ 391947 w 391947"/>
                <a:gd name="connsiteY4" fmla="*/ 629101 h 629101"/>
                <a:gd name="connsiteX5" fmla="*/ 0 w 391947"/>
                <a:gd name="connsiteY5" fmla="*/ 311944 h 629101"/>
                <a:gd name="connsiteX6" fmla="*/ 1651 w 391947"/>
                <a:gd name="connsiteY6" fmla="*/ 57601 h 629101"/>
                <a:gd name="connsiteX0" fmla="*/ 1651 w 391947"/>
                <a:gd name="connsiteY0" fmla="*/ 57601 h 328612"/>
                <a:gd name="connsiteX1" fmla="*/ 190501 w 391947"/>
                <a:gd name="connsiteY1" fmla="*/ 0 h 328612"/>
                <a:gd name="connsiteX2" fmla="*/ 391947 w 391947"/>
                <a:gd name="connsiteY2" fmla="*/ 57601 h 328612"/>
                <a:gd name="connsiteX3" fmla="*/ 390525 w 391947"/>
                <a:gd name="connsiteY3" fmla="*/ 328612 h 328612"/>
                <a:gd name="connsiteX4" fmla="*/ 0 w 391947"/>
                <a:gd name="connsiteY4" fmla="*/ 311944 h 328612"/>
                <a:gd name="connsiteX5" fmla="*/ 1651 w 391947"/>
                <a:gd name="connsiteY5" fmla="*/ 57601 h 328612"/>
                <a:gd name="connsiteX0" fmla="*/ 1651 w 391947"/>
                <a:gd name="connsiteY0" fmla="*/ 10315 h 281326"/>
                <a:gd name="connsiteX1" fmla="*/ 194442 w 391947"/>
                <a:gd name="connsiteY1" fmla="*/ 0 h 281326"/>
                <a:gd name="connsiteX2" fmla="*/ 391947 w 391947"/>
                <a:gd name="connsiteY2" fmla="*/ 10315 h 281326"/>
                <a:gd name="connsiteX3" fmla="*/ 390525 w 391947"/>
                <a:gd name="connsiteY3" fmla="*/ 281326 h 281326"/>
                <a:gd name="connsiteX4" fmla="*/ 0 w 391947"/>
                <a:gd name="connsiteY4" fmla="*/ 264658 h 281326"/>
                <a:gd name="connsiteX5" fmla="*/ 1651 w 391947"/>
                <a:gd name="connsiteY5" fmla="*/ 10315 h 281326"/>
                <a:gd name="connsiteX0" fmla="*/ 1651 w 391947"/>
                <a:gd name="connsiteY0" fmla="*/ 0 h 271011"/>
                <a:gd name="connsiteX1" fmla="*/ 194442 w 391947"/>
                <a:gd name="connsiteY1" fmla="*/ 9387 h 271011"/>
                <a:gd name="connsiteX2" fmla="*/ 391947 w 391947"/>
                <a:gd name="connsiteY2" fmla="*/ 0 h 271011"/>
                <a:gd name="connsiteX3" fmla="*/ 390525 w 391947"/>
                <a:gd name="connsiteY3" fmla="*/ 271011 h 271011"/>
                <a:gd name="connsiteX4" fmla="*/ 0 w 391947"/>
                <a:gd name="connsiteY4" fmla="*/ 254343 h 271011"/>
                <a:gd name="connsiteX5" fmla="*/ 1651 w 391947"/>
                <a:gd name="connsiteY5" fmla="*/ 0 h 271011"/>
                <a:gd name="connsiteX0" fmla="*/ 1651 w 391947"/>
                <a:gd name="connsiteY0" fmla="*/ 0 h 271011"/>
                <a:gd name="connsiteX1" fmla="*/ 194442 w 391947"/>
                <a:gd name="connsiteY1" fmla="*/ 9387 h 271011"/>
                <a:gd name="connsiteX2" fmla="*/ 391947 w 391947"/>
                <a:gd name="connsiteY2" fmla="*/ 47287 h 271011"/>
                <a:gd name="connsiteX3" fmla="*/ 390525 w 391947"/>
                <a:gd name="connsiteY3" fmla="*/ 271011 h 271011"/>
                <a:gd name="connsiteX4" fmla="*/ 0 w 391947"/>
                <a:gd name="connsiteY4" fmla="*/ 254343 h 271011"/>
                <a:gd name="connsiteX5" fmla="*/ 1651 w 391947"/>
                <a:gd name="connsiteY5" fmla="*/ 0 h 271011"/>
                <a:gd name="connsiteX0" fmla="*/ 1651 w 390524"/>
                <a:gd name="connsiteY0" fmla="*/ 0 h 271011"/>
                <a:gd name="connsiteX1" fmla="*/ 194442 w 390524"/>
                <a:gd name="connsiteY1" fmla="*/ 9387 h 271011"/>
                <a:gd name="connsiteX2" fmla="*/ 340721 w 390524"/>
                <a:gd name="connsiteY2" fmla="*/ 3940 h 271011"/>
                <a:gd name="connsiteX3" fmla="*/ 390525 w 390524"/>
                <a:gd name="connsiteY3" fmla="*/ 271011 h 271011"/>
                <a:gd name="connsiteX4" fmla="*/ 0 w 390524"/>
                <a:gd name="connsiteY4" fmla="*/ 254343 h 271011"/>
                <a:gd name="connsiteX5" fmla="*/ 1651 w 390524"/>
                <a:gd name="connsiteY5" fmla="*/ 0 h 271011"/>
                <a:gd name="connsiteX0" fmla="*/ 64700 w 390525"/>
                <a:gd name="connsiteY0" fmla="*/ 0 h 274951"/>
                <a:gd name="connsiteX1" fmla="*/ 194442 w 390525"/>
                <a:gd name="connsiteY1" fmla="*/ 13327 h 274951"/>
                <a:gd name="connsiteX2" fmla="*/ 340721 w 390525"/>
                <a:gd name="connsiteY2" fmla="*/ 7880 h 274951"/>
                <a:gd name="connsiteX3" fmla="*/ 390525 w 390525"/>
                <a:gd name="connsiteY3" fmla="*/ 274951 h 274951"/>
                <a:gd name="connsiteX4" fmla="*/ 0 w 390525"/>
                <a:gd name="connsiteY4" fmla="*/ 258283 h 274951"/>
                <a:gd name="connsiteX5" fmla="*/ 64700 w 390525"/>
                <a:gd name="connsiteY5" fmla="*/ 0 h 274951"/>
                <a:gd name="connsiteX0" fmla="*/ 64700 w 390525"/>
                <a:gd name="connsiteY0" fmla="*/ 0 h 274951"/>
                <a:gd name="connsiteX1" fmla="*/ 194442 w 390525"/>
                <a:gd name="connsiteY1" fmla="*/ 13327 h 274951"/>
                <a:gd name="connsiteX2" fmla="*/ 313136 w 390525"/>
                <a:gd name="connsiteY2" fmla="*/ 3939 h 274951"/>
                <a:gd name="connsiteX3" fmla="*/ 390525 w 390525"/>
                <a:gd name="connsiteY3" fmla="*/ 274951 h 274951"/>
                <a:gd name="connsiteX4" fmla="*/ 0 w 390525"/>
                <a:gd name="connsiteY4" fmla="*/ 258283 h 274951"/>
                <a:gd name="connsiteX5" fmla="*/ 64700 w 390525"/>
                <a:gd name="connsiteY5" fmla="*/ 0 h 274951"/>
                <a:gd name="connsiteX0" fmla="*/ 64700 w 390525"/>
                <a:gd name="connsiteY0" fmla="*/ 0 h 274951"/>
                <a:gd name="connsiteX1" fmla="*/ 194442 w 390525"/>
                <a:gd name="connsiteY1" fmla="*/ 9387 h 274951"/>
                <a:gd name="connsiteX2" fmla="*/ 313136 w 390525"/>
                <a:gd name="connsiteY2" fmla="*/ 3939 h 274951"/>
                <a:gd name="connsiteX3" fmla="*/ 390525 w 390525"/>
                <a:gd name="connsiteY3" fmla="*/ 274951 h 274951"/>
                <a:gd name="connsiteX4" fmla="*/ 0 w 390525"/>
                <a:gd name="connsiteY4" fmla="*/ 258283 h 274951"/>
                <a:gd name="connsiteX5" fmla="*/ 64700 w 390525"/>
                <a:gd name="connsiteY5" fmla="*/ 0 h 274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0525" h="274951">
                  <a:moveTo>
                    <a:pt x="64700" y="0"/>
                  </a:moveTo>
                  <a:lnTo>
                    <a:pt x="194442" y="9387"/>
                  </a:lnTo>
                  <a:lnTo>
                    <a:pt x="313136" y="3939"/>
                  </a:lnTo>
                  <a:lnTo>
                    <a:pt x="390525" y="274951"/>
                  </a:lnTo>
                  <a:lnTo>
                    <a:pt x="0" y="258283"/>
                  </a:lnTo>
                  <a:cubicBezTo>
                    <a:pt x="550" y="173502"/>
                    <a:pt x="64150" y="84781"/>
                    <a:pt x="6470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1" name="Freeform 60"/>
            <p:cNvSpPr/>
            <p:nvPr/>
          </p:nvSpPr>
          <p:spPr bwMode="auto">
            <a:xfrm>
              <a:off x="10395008" y="4647010"/>
              <a:ext cx="430736" cy="763812"/>
            </a:xfrm>
            <a:custGeom>
              <a:avLst/>
              <a:gdLst>
                <a:gd name="connsiteX0" fmla="*/ 0 w 608801"/>
                <a:gd name="connsiteY0" fmla="*/ 0 h 1019175"/>
                <a:gd name="connsiteX1" fmla="*/ 225692 w 608801"/>
                <a:gd name="connsiteY1" fmla="*/ 0 h 1019175"/>
                <a:gd name="connsiteX2" fmla="*/ 225420 w 608801"/>
                <a:gd name="connsiteY2" fmla="*/ 2381 h 1019175"/>
                <a:gd name="connsiteX3" fmla="*/ 306382 w 608801"/>
                <a:gd name="connsiteY3" fmla="*/ 569119 h 1019175"/>
                <a:gd name="connsiteX4" fmla="*/ 347756 w 608801"/>
                <a:gd name="connsiteY4" fmla="*/ 283964 h 1019175"/>
                <a:gd name="connsiteX5" fmla="*/ 379666 w 608801"/>
                <a:gd name="connsiteY5" fmla="*/ 0 h 1019175"/>
                <a:gd name="connsiteX6" fmla="*/ 608801 w 608801"/>
                <a:gd name="connsiteY6" fmla="*/ 0 h 1019175"/>
                <a:gd name="connsiteX7" fmla="*/ 608801 w 608801"/>
                <a:gd name="connsiteY7" fmla="*/ 1019175 h 1019175"/>
                <a:gd name="connsiteX8" fmla="*/ 0 w 608801"/>
                <a:gd name="connsiteY8" fmla="*/ 1019175 h 1019175"/>
                <a:gd name="connsiteX0" fmla="*/ 0 w 608801"/>
                <a:gd name="connsiteY0" fmla="*/ 0 h 1019175"/>
                <a:gd name="connsiteX1" fmla="*/ 225692 w 608801"/>
                <a:gd name="connsiteY1" fmla="*/ 0 h 1019175"/>
                <a:gd name="connsiteX2" fmla="*/ 225420 w 608801"/>
                <a:gd name="connsiteY2" fmla="*/ 2381 h 1019175"/>
                <a:gd name="connsiteX3" fmla="*/ 306382 w 608801"/>
                <a:gd name="connsiteY3" fmla="*/ 569119 h 1019175"/>
                <a:gd name="connsiteX4" fmla="*/ 347756 w 608801"/>
                <a:gd name="connsiteY4" fmla="*/ 283964 h 1019175"/>
                <a:gd name="connsiteX5" fmla="*/ 379666 w 608801"/>
                <a:gd name="connsiteY5" fmla="*/ 0 h 1019175"/>
                <a:gd name="connsiteX6" fmla="*/ 608801 w 608801"/>
                <a:gd name="connsiteY6" fmla="*/ 0 h 1019175"/>
                <a:gd name="connsiteX7" fmla="*/ 608801 w 608801"/>
                <a:gd name="connsiteY7" fmla="*/ 1019175 h 1019175"/>
                <a:gd name="connsiteX8" fmla="*/ 0 w 608801"/>
                <a:gd name="connsiteY8" fmla="*/ 1019175 h 1019175"/>
                <a:gd name="connsiteX9" fmla="*/ 0 w 608801"/>
                <a:gd name="connsiteY9" fmla="*/ 0 h 1019175"/>
                <a:gd name="connsiteX0" fmla="*/ 0 w 608801"/>
                <a:gd name="connsiteY0" fmla="*/ 28575 h 1047750"/>
                <a:gd name="connsiteX1" fmla="*/ 225692 w 608801"/>
                <a:gd name="connsiteY1" fmla="*/ 28575 h 1047750"/>
                <a:gd name="connsiteX2" fmla="*/ 225420 w 608801"/>
                <a:gd name="connsiteY2" fmla="*/ 30956 h 1047750"/>
                <a:gd name="connsiteX3" fmla="*/ 306382 w 608801"/>
                <a:gd name="connsiteY3" fmla="*/ 597694 h 1047750"/>
                <a:gd name="connsiteX4" fmla="*/ 347756 w 608801"/>
                <a:gd name="connsiteY4" fmla="*/ 312539 h 1047750"/>
                <a:gd name="connsiteX5" fmla="*/ 432054 w 608801"/>
                <a:gd name="connsiteY5" fmla="*/ 0 h 1047750"/>
                <a:gd name="connsiteX6" fmla="*/ 608801 w 608801"/>
                <a:gd name="connsiteY6" fmla="*/ 28575 h 1047750"/>
                <a:gd name="connsiteX7" fmla="*/ 608801 w 608801"/>
                <a:gd name="connsiteY7" fmla="*/ 1047750 h 1047750"/>
                <a:gd name="connsiteX8" fmla="*/ 0 w 608801"/>
                <a:gd name="connsiteY8" fmla="*/ 1047750 h 1047750"/>
                <a:gd name="connsiteX9" fmla="*/ 0 w 608801"/>
                <a:gd name="connsiteY9" fmla="*/ 28575 h 1047750"/>
                <a:gd name="connsiteX0" fmla="*/ 0 w 608801"/>
                <a:gd name="connsiteY0" fmla="*/ 28575 h 1047750"/>
                <a:gd name="connsiteX1" fmla="*/ 225692 w 608801"/>
                <a:gd name="connsiteY1" fmla="*/ 28575 h 1047750"/>
                <a:gd name="connsiteX2" fmla="*/ 306382 w 608801"/>
                <a:gd name="connsiteY2" fmla="*/ 597694 h 1047750"/>
                <a:gd name="connsiteX3" fmla="*/ 347756 w 608801"/>
                <a:gd name="connsiteY3" fmla="*/ 312539 h 1047750"/>
                <a:gd name="connsiteX4" fmla="*/ 432054 w 608801"/>
                <a:gd name="connsiteY4" fmla="*/ 0 h 1047750"/>
                <a:gd name="connsiteX5" fmla="*/ 608801 w 608801"/>
                <a:gd name="connsiteY5" fmla="*/ 28575 h 1047750"/>
                <a:gd name="connsiteX6" fmla="*/ 608801 w 608801"/>
                <a:gd name="connsiteY6" fmla="*/ 1047750 h 1047750"/>
                <a:gd name="connsiteX7" fmla="*/ 0 w 608801"/>
                <a:gd name="connsiteY7" fmla="*/ 1047750 h 1047750"/>
                <a:gd name="connsiteX8" fmla="*/ 0 w 608801"/>
                <a:gd name="connsiteY8" fmla="*/ 28575 h 1047750"/>
                <a:gd name="connsiteX0" fmla="*/ 0 w 608801"/>
                <a:gd name="connsiteY0" fmla="*/ 30956 h 1050131"/>
                <a:gd name="connsiteX1" fmla="*/ 213786 w 608801"/>
                <a:gd name="connsiteY1" fmla="*/ 0 h 1050131"/>
                <a:gd name="connsiteX2" fmla="*/ 306382 w 608801"/>
                <a:gd name="connsiteY2" fmla="*/ 600075 h 1050131"/>
                <a:gd name="connsiteX3" fmla="*/ 347756 w 608801"/>
                <a:gd name="connsiteY3" fmla="*/ 314920 h 1050131"/>
                <a:gd name="connsiteX4" fmla="*/ 432054 w 608801"/>
                <a:gd name="connsiteY4" fmla="*/ 2381 h 1050131"/>
                <a:gd name="connsiteX5" fmla="*/ 608801 w 608801"/>
                <a:gd name="connsiteY5" fmla="*/ 30956 h 1050131"/>
                <a:gd name="connsiteX6" fmla="*/ 608801 w 608801"/>
                <a:gd name="connsiteY6" fmla="*/ 1050131 h 1050131"/>
                <a:gd name="connsiteX7" fmla="*/ 0 w 608801"/>
                <a:gd name="connsiteY7" fmla="*/ 1050131 h 1050131"/>
                <a:gd name="connsiteX8" fmla="*/ 0 w 608801"/>
                <a:gd name="connsiteY8" fmla="*/ 30956 h 1050131"/>
                <a:gd name="connsiteX0" fmla="*/ 0 w 608801"/>
                <a:gd name="connsiteY0" fmla="*/ 30956 h 1050131"/>
                <a:gd name="connsiteX1" fmla="*/ 213786 w 608801"/>
                <a:gd name="connsiteY1" fmla="*/ 0 h 1050131"/>
                <a:gd name="connsiteX2" fmla="*/ 306382 w 608801"/>
                <a:gd name="connsiteY2" fmla="*/ 600075 h 1050131"/>
                <a:gd name="connsiteX3" fmla="*/ 347756 w 608801"/>
                <a:gd name="connsiteY3" fmla="*/ 314920 h 1050131"/>
                <a:gd name="connsiteX4" fmla="*/ 432054 w 608801"/>
                <a:gd name="connsiteY4" fmla="*/ 2381 h 1050131"/>
                <a:gd name="connsiteX5" fmla="*/ 589751 w 608801"/>
                <a:gd name="connsiteY5" fmla="*/ 26194 h 1050131"/>
                <a:gd name="connsiteX6" fmla="*/ 608801 w 608801"/>
                <a:gd name="connsiteY6" fmla="*/ 1050131 h 1050131"/>
                <a:gd name="connsiteX7" fmla="*/ 0 w 608801"/>
                <a:gd name="connsiteY7" fmla="*/ 1050131 h 1050131"/>
                <a:gd name="connsiteX8" fmla="*/ 0 w 608801"/>
                <a:gd name="connsiteY8" fmla="*/ 30956 h 1050131"/>
                <a:gd name="connsiteX0" fmla="*/ 64294 w 608801"/>
                <a:gd name="connsiteY0" fmla="*/ 26193 h 1050131"/>
                <a:gd name="connsiteX1" fmla="*/ 213786 w 608801"/>
                <a:gd name="connsiteY1" fmla="*/ 0 h 1050131"/>
                <a:gd name="connsiteX2" fmla="*/ 306382 w 608801"/>
                <a:gd name="connsiteY2" fmla="*/ 600075 h 1050131"/>
                <a:gd name="connsiteX3" fmla="*/ 347756 w 608801"/>
                <a:gd name="connsiteY3" fmla="*/ 314920 h 1050131"/>
                <a:gd name="connsiteX4" fmla="*/ 432054 w 608801"/>
                <a:gd name="connsiteY4" fmla="*/ 2381 h 1050131"/>
                <a:gd name="connsiteX5" fmla="*/ 589751 w 608801"/>
                <a:gd name="connsiteY5" fmla="*/ 26194 h 1050131"/>
                <a:gd name="connsiteX6" fmla="*/ 608801 w 608801"/>
                <a:gd name="connsiteY6" fmla="*/ 1050131 h 1050131"/>
                <a:gd name="connsiteX7" fmla="*/ 0 w 608801"/>
                <a:gd name="connsiteY7" fmla="*/ 1050131 h 1050131"/>
                <a:gd name="connsiteX8" fmla="*/ 64294 w 608801"/>
                <a:gd name="connsiteY8" fmla="*/ 26193 h 1050131"/>
                <a:gd name="connsiteX0" fmla="*/ 0 w 544507"/>
                <a:gd name="connsiteY0" fmla="*/ 26193 h 1050131"/>
                <a:gd name="connsiteX1" fmla="*/ 149492 w 544507"/>
                <a:gd name="connsiteY1" fmla="*/ 0 h 1050131"/>
                <a:gd name="connsiteX2" fmla="*/ 242088 w 544507"/>
                <a:gd name="connsiteY2" fmla="*/ 600075 h 1050131"/>
                <a:gd name="connsiteX3" fmla="*/ 283462 w 544507"/>
                <a:gd name="connsiteY3" fmla="*/ 314920 h 1050131"/>
                <a:gd name="connsiteX4" fmla="*/ 367760 w 544507"/>
                <a:gd name="connsiteY4" fmla="*/ 2381 h 1050131"/>
                <a:gd name="connsiteX5" fmla="*/ 525457 w 544507"/>
                <a:gd name="connsiteY5" fmla="*/ 26194 h 1050131"/>
                <a:gd name="connsiteX6" fmla="*/ 544507 w 544507"/>
                <a:gd name="connsiteY6" fmla="*/ 1050131 h 1050131"/>
                <a:gd name="connsiteX7" fmla="*/ 14287 w 544507"/>
                <a:gd name="connsiteY7" fmla="*/ 900112 h 1050131"/>
                <a:gd name="connsiteX8" fmla="*/ 0 w 544507"/>
                <a:gd name="connsiteY8" fmla="*/ 26193 h 1050131"/>
                <a:gd name="connsiteX0" fmla="*/ 0 w 525457"/>
                <a:gd name="connsiteY0" fmla="*/ 26193 h 902493"/>
                <a:gd name="connsiteX1" fmla="*/ 149492 w 525457"/>
                <a:gd name="connsiteY1" fmla="*/ 0 h 902493"/>
                <a:gd name="connsiteX2" fmla="*/ 242088 w 525457"/>
                <a:gd name="connsiteY2" fmla="*/ 600075 h 902493"/>
                <a:gd name="connsiteX3" fmla="*/ 283462 w 525457"/>
                <a:gd name="connsiteY3" fmla="*/ 314920 h 902493"/>
                <a:gd name="connsiteX4" fmla="*/ 367760 w 525457"/>
                <a:gd name="connsiteY4" fmla="*/ 2381 h 902493"/>
                <a:gd name="connsiteX5" fmla="*/ 525457 w 525457"/>
                <a:gd name="connsiteY5" fmla="*/ 26194 h 902493"/>
                <a:gd name="connsiteX6" fmla="*/ 511169 w 525457"/>
                <a:gd name="connsiteY6" fmla="*/ 902493 h 902493"/>
                <a:gd name="connsiteX7" fmla="*/ 14287 w 525457"/>
                <a:gd name="connsiteY7" fmla="*/ 900112 h 902493"/>
                <a:gd name="connsiteX8" fmla="*/ 0 w 525457"/>
                <a:gd name="connsiteY8" fmla="*/ 26193 h 902493"/>
                <a:gd name="connsiteX0" fmla="*/ 0 w 525457"/>
                <a:gd name="connsiteY0" fmla="*/ 26193 h 902493"/>
                <a:gd name="connsiteX1" fmla="*/ 149492 w 525457"/>
                <a:gd name="connsiteY1" fmla="*/ 0 h 902493"/>
                <a:gd name="connsiteX2" fmla="*/ 283462 w 525457"/>
                <a:gd name="connsiteY2" fmla="*/ 314920 h 902493"/>
                <a:gd name="connsiteX3" fmla="*/ 367760 w 525457"/>
                <a:gd name="connsiteY3" fmla="*/ 2381 h 902493"/>
                <a:gd name="connsiteX4" fmla="*/ 525457 w 525457"/>
                <a:gd name="connsiteY4" fmla="*/ 26194 h 902493"/>
                <a:gd name="connsiteX5" fmla="*/ 511169 w 525457"/>
                <a:gd name="connsiteY5" fmla="*/ 902493 h 902493"/>
                <a:gd name="connsiteX6" fmla="*/ 14287 w 525457"/>
                <a:gd name="connsiteY6" fmla="*/ 900112 h 902493"/>
                <a:gd name="connsiteX7" fmla="*/ 0 w 525457"/>
                <a:gd name="connsiteY7" fmla="*/ 26193 h 902493"/>
                <a:gd name="connsiteX0" fmla="*/ 0 w 525457"/>
                <a:gd name="connsiteY0" fmla="*/ 26193 h 902493"/>
                <a:gd name="connsiteX1" fmla="*/ 149492 w 525457"/>
                <a:gd name="connsiteY1" fmla="*/ 0 h 902493"/>
                <a:gd name="connsiteX2" fmla="*/ 264412 w 525457"/>
                <a:gd name="connsiteY2" fmla="*/ 172045 h 902493"/>
                <a:gd name="connsiteX3" fmla="*/ 367760 w 525457"/>
                <a:gd name="connsiteY3" fmla="*/ 2381 h 902493"/>
                <a:gd name="connsiteX4" fmla="*/ 525457 w 525457"/>
                <a:gd name="connsiteY4" fmla="*/ 26194 h 902493"/>
                <a:gd name="connsiteX5" fmla="*/ 511169 w 525457"/>
                <a:gd name="connsiteY5" fmla="*/ 902493 h 902493"/>
                <a:gd name="connsiteX6" fmla="*/ 14287 w 525457"/>
                <a:gd name="connsiteY6" fmla="*/ 900112 h 902493"/>
                <a:gd name="connsiteX7" fmla="*/ 0 w 525457"/>
                <a:gd name="connsiteY7" fmla="*/ 26193 h 902493"/>
                <a:gd name="connsiteX0" fmla="*/ 0 w 525457"/>
                <a:gd name="connsiteY0" fmla="*/ 26193 h 902493"/>
                <a:gd name="connsiteX1" fmla="*/ 149492 w 525457"/>
                <a:gd name="connsiteY1" fmla="*/ 0 h 902493"/>
                <a:gd name="connsiteX2" fmla="*/ 264412 w 525457"/>
                <a:gd name="connsiteY2" fmla="*/ 172045 h 902493"/>
                <a:gd name="connsiteX3" fmla="*/ 367760 w 525457"/>
                <a:gd name="connsiteY3" fmla="*/ 2381 h 902493"/>
                <a:gd name="connsiteX4" fmla="*/ 525457 w 525457"/>
                <a:gd name="connsiteY4" fmla="*/ 26194 h 902493"/>
                <a:gd name="connsiteX5" fmla="*/ 511169 w 525457"/>
                <a:gd name="connsiteY5" fmla="*/ 902493 h 902493"/>
                <a:gd name="connsiteX6" fmla="*/ 14287 w 525457"/>
                <a:gd name="connsiteY6" fmla="*/ 900112 h 902493"/>
                <a:gd name="connsiteX7" fmla="*/ 0 w 525457"/>
                <a:gd name="connsiteY7" fmla="*/ 26193 h 902493"/>
                <a:gd name="connsiteX0" fmla="*/ 0 w 525457"/>
                <a:gd name="connsiteY0" fmla="*/ 26193 h 902493"/>
                <a:gd name="connsiteX1" fmla="*/ 149492 w 525457"/>
                <a:gd name="connsiteY1" fmla="*/ 0 h 902493"/>
                <a:gd name="connsiteX2" fmla="*/ 257268 w 525457"/>
                <a:gd name="connsiteY2" fmla="*/ 174427 h 902493"/>
                <a:gd name="connsiteX3" fmla="*/ 367760 w 525457"/>
                <a:gd name="connsiteY3" fmla="*/ 2381 h 902493"/>
                <a:gd name="connsiteX4" fmla="*/ 525457 w 525457"/>
                <a:gd name="connsiteY4" fmla="*/ 26194 h 902493"/>
                <a:gd name="connsiteX5" fmla="*/ 511169 w 525457"/>
                <a:gd name="connsiteY5" fmla="*/ 902493 h 902493"/>
                <a:gd name="connsiteX6" fmla="*/ 14287 w 525457"/>
                <a:gd name="connsiteY6" fmla="*/ 900112 h 902493"/>
                <a:gd name="connsiteX7" fmla="*/ 0 w 525457"/>
                <a:gd name="connsiteY7" fmla="*/ 26193 h 902493"/>
                <a:gd name="connsiteX0" fmla="*/ 0 w 525457"/>
                <a:gd name="connsiteY0" fmla="*/ 26193 h 902493"/>
                <a:gd name="connsiteX1" fmla="*/ 149492 w 525457"/>
                <a:gd name="connsiteY1" fmla="*/ 0 h 902493"/>
                <a:gd name="connsiteX2" fmla="*/ 257268 w 525457"/>
                <a:gd name="connsiteY2" fmla="*/ 174427 h 902493"/>
                <a:gd name="connsiteX3" fmla="*/ 367760 w 525457"/>
                <a:gd name="connsiteY3" fmla="*/ 2381 h 902493"/>
                <a:gd name="connsiteX4" fmla="*/ 525457 w 525457"/>
                <a:gd name="connsiteY4" fmla="*/ 26194 h 902493"/>
                <a:gd name="connsiteX5" fmla="*/ 511169 w 525457"/>
                <a:gd name="connsiteY5" fmla="*/ 902493 h 902493"/>
                <a:gd name="connsiteX6" fmla="*/ 14287 w 525457"/>
                <a:gd name="connsiteY6" fmla="*/ 900112 h 902493"/>
                <a:gd name="connsiteX7" fmla="*/ 0 w 525457"/>
                <a:gd name="connsiteY7" fmla="*/ 26193 h 902493"/>
                <a:gd name="connsiteX0" fmla="*/ 0 w 525457"/>
                <a:gd name="connsiteY0" fmla="*/ 30955 h 907255"/>
                <a:gd name="connsiteX1" fmla="*/ 149492 w 525457"/>
                <a:gd name="connsiteY1" fmla="*/ 0 h 907255"/>
                <a:gd name="connsiteX2" fmla="*/ 257268 w 525457"/>
                <a:gd name="connsiteY2" fmla="*/ 179189 h 907255"/>
                <a:gd name="connsiteX3" fmla="*/ 367760 w 525457"/>
                <a:gd name="connsiteY3" fmla="*/ 7143 h 907255"/>
                <a:gd name="connsiteX4" fmla="*/ 525457 w 525457"/>
                <a:gd name="connsiteY4" fmla="*/ 30956 h 907255"/>
                <a:gd name="connsiteX5" fmla="*/ 511169 w 525457"/>
                <a:gd name="connsiteY5" fmla="*/ 907255 h 907255"/>
                <a:gd name="connsiteX6" fmla="*/ 14287 w 525457"/>
                <a:gd name="connsiteY6" fmla="*/ 904874 h 907255"/>
                <a:gd name="connsiteX7" fmla="*/ 0 w 525457"/>
                <a:gd name="connsiteY7" fmla="*/ 30955 h 907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25457" h="907255">
                  <a:moveTo>
                    <a:pt x="0" y="30955"/>
                  </a:moveTo>
                  <a:lnTo>
                    <a:pt x="149492" y="0"/>
                  </a:lnTo>
                  <a:cubicBezTo>
                    <a:pt x="196736" y="48121"/>
                    <a:pt x="199808" y="93166"/>
                    <a:pt x="257268" y="179189"/>
                  </a:cubicBezTo>
                  <a:lnTo>
                    <a:pt x="367760" y="7143"/>
                  </a:lnTo>
                  <a:lnTo>
                    <a:pt x="525457" y="30956"/>
                  </a:lnTo>
                  <a:lnTo>
                    <a:pt x="511169" y="907255"/>
                  </a:lnTo>
                  <a:lnTo>
                    <a:pt x="14287" y="904874"/>
                  </a:lnTo>
                  <a:lnTo>
                    <a:pt x="0" y="30955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2" name="Freeform 61"/>
            <p:cNvSpPr/>
            <p:nvPr/>
          </p:nvSpPr>
          <p:spPr bwMode="auto">
            <a:xfrm>
              <a:off x="10474769" y="4264566"/>
              <a:ext cx="253830" cy="164507"/>
            </a:xfrm>
            <a:custGeom>
              <a:avLst/>
              <a:gdLst>
                <a:gd name="connsiteX0" fmla="*/ 300038 w 300038"/>
                <a:gd name="connsiteY0" fmla="*/ 190500 h 190500"/>
                <a:gd name="connsiteX1" fmla="*/ 271463 w 300038"/>
                <a:gd name="connsiteY1" fmla="*/ 116681 h 190500"/>
                <a:gd name="connsiteX2" fmla="*/ 195263 w 300038"/>
                <a:gd name="connsiteY2" fmla="*/ 107156 h 190500"/>
                <a:gd name="connsiteX3" fmla="*/ 52388 w 300038"/>
                <a:gd name="connsiteY3" fmla="*/ 100012 h 190500"/>
                <a:gd name="connsiteX4" fmla="*/ 21431 w 300038"/>
                <a:gd name="connsiteY4" fmla="*/ 119062 h 190500"/>
                <a:gd name="connsiteX5" fmla="*/ 23813 w 300038"/>
                <a:gd name="connsiteY5" fmla="*/ 164306 h 190500"/>
                <a:gd name="connsiteX6" fmla="*/ 0 w 300038"/>
                <a:gd name="connsiteY6" fmla="*/ 171450 h 190500"/>
                <a:gd name="connsiteX7" fmla="*/ 97631 w 300038"/>
                <a:gd name="connsiteY7" fmla="*/ 0 h 190500"/>
                <a:gd name="connsiteX8" fmla="*/ 214313 w 300038"/>
                <a:gd name="connsiteY8" fmla="*/ 40481 h 190500"/>
                <a:gd name="connsiteX9" fmla="*/ 300038 w 300038"/>
                <a:gd name="connsiteY9" fmla="*/ 190500 h 190500"/>
                <a:gd name="connsiteX0" fmla="*/ 300038 w 300038"/>
                <a:gd name="connsiteY0" fmla="*/ 190500 h 190500"/>
                <a:gd name="connsiteX1" fmla="*/ 271463 w 300038"/>
                <a:gd name="connsiteY1" fmla="*/ 116681 h 190500"/>
                <a:gd name="connsiteX2" fmla="*/ 195263 w 300038"/>
                <a:gd name="connsiteY2" fmla="*/ 107156 h 190500"/>
                <a:gd name="connsiteX3" fmla="*/ 52388 w 300038"/>
                <a:gd name="connsiteY3" fmla="*/ 100012 h 190500"/>
                <a:gd name="connsiteX4" fmla="*/ 21431 w 300038"/>
                <a:gd name="connsiteY4" fmla="*/ 119062 h 190500"/>
                <a:gd name="connsiteX5" fmla="*/ 23813 w 300038"/>
                <a:gd name="connsiteY5" fmla="*/ 164306 h 190500"/>
                <a:gd name="connsiteX6" fmla="*/ 0 w 300038"/>
                <a:gd name="connsiteY6" fmla="*/ 171450 h 190500"/>
                <a:gd name="connsiteX7" fmla="*/ 97631 w 300038"/>
                <a:gd name="connsiteY7" fmla="*/ 0 h 190500"/>
                <a:gd name="connsiteX8" fmla="*/ 214313 w 300038"/>
                <a:gd name="connsiteY8" fmla="*/ 40481 h 190500"/>
                <a:gd name="connsiteX9" fmla="*/ 300038 w 300038"/>
                <a:gd name="connsiteY9" fmla="*/ 190500 h 190500"/>
                <a:gd name="connsiteX0" fmla="*/ 300038 w 300038"/>
                <a:gd name="connsiteY0" fmla="*/ 190500 h 190500"/>
                <a:gd name="connsiteX1" fmla="*/ 271463 w 300038"/>
                <a:gd name="connsiteY1" fmla="*/ 116681 h 190500"/>
                <a:gd name="connsiteX2" fmla="*/ 195263 w 300038"/>
                <a:gd name="connsiteY2" fmla="*/ 107156 h 190500"/>
                <a:gd name="connsiteX3" fmla="*/ 52388 w 300038"/>
                <a:gd name="connsiteY3" fmla="*/ 100012 h 190500"/>
                <a:gd name="connsiteX4" fmla="*/ 21431 w 300038"/>
                <a:gd name="connsiteY4" fmla="*/ 119062 h 190500"/>
                <a:gd name="connsiteX5" fmla="*/ 23813 w 300038"/>
                <a:gd name="connsiteY5" fmla="*/ 164306 h 190500"/>
                <a:gd name="connsiteX6" fmla="*/ 0 w 300038"/>
                <a:gd name="connsiteY6" fmla="*/ 171450 h 190500"/>
                <a:gd name="connsiteX7" fmla="*/ 97631 w 300038"/>
                <a:gd name="connsiteY7" fmla="*/ 0 h 190500"/>
                <a:gd name="connsiteX8" fmla="*/ 214313 w 300038"/>
                <a:gd name="connsiteY8" fmla="*/ 40481 h 190500"/>
                <a:gd name="connsiteX9" fmla="*/ 300038 w 300038"/>
                <a:gd name="connsiteY9" fmla="*/ 190500 h 190500"/>
                <a:gd name="connsiteX0" fmla="*/ 300038 w 301649"/>
                <a:gd name="connsiteY0" fmla="*/ 190500 h 190500"/>
                <a:gd name="connsiteX1" fmla="*/ 271463 w 301649"/>
                <a:gd name="connsiteY1" fmla="*/ 116681 h 190500"/>
                <a:gd name="connsiteX2" fmla="*/ 195263 w 301649"/>
                <a:gd name="connsiteY2" fmla="*/ 107156 h 190500"/>
                <a:gd name="connsiteX3" fmla="*/ 52388 w 301649"/>
                <a:gd name="connsiteY3" fmla="*/ 100012 h 190500"/>
                <a:gd name="connsiteX4" fmla="*/ 21431 w 301649"/>
                <a:gd name="connsiteY4" fmla="*/ 119062 h 190500"/>
                <a:gd name="connsiteX5" fmla="*/ 23813 w 301649"/>
                <a:gd name="connsiteY5" fmla="*/ 164306 h 190500"/>
                <a:gd name="connsiteX6" fmla="*/ 0 w 301649"/>
                <a:gd name="connsiteY6" fmla="*/ 171450 h 190500"/>
                <a:gd name="connsiteX7" fmla="*/ 97631 w 301649"/>
                <a:gd name="connsiteY7" fmla="*/ 0 h 190500"/>
                <a:gd name="connsiteX8" fmla="*/ 214313 w 301649"/>
                <a:gd name="connsiteY8" fmla="*/ 40481 h 190500"/>
                <a:gd name="connsiteX9" fmla="*/ 300038 w 301649"/>
                <a:gd name="connsiteY9" fmla="*/ 190500 h 190500"/>
                <a:gd name="connsiteX0" fmla="*/ 300038 w 301649"/>
                <a:gd name="connsiteY0" fmla="*/ 194507 h 194507"/>
                <a:gd name="connsiteX1" fmla="*/ 271463 w 301649"/>
                <a:gd name="connsiteY1" fmla="*/ 120688 h 194507"/>
                <a:gd name="connsiteX2" fmla="*/ 195263 w 301649"/>
                <a:gd name="connsiteY2" fmla="*/ 111163 h 194507"/>
                <a:gd name="connsiteX3" fmla="*/ 52388 w 301649"/>
                <a:gd name="connsiteY3" fmla="*/ 104019 h 194507"/>
                <a:gd name="connsiteX4" fmla="*/ 21431 w 301649"/>
                <a:gd name="connsiteY4" fmla="*/ 123069 h 194507"/>
                <a:gd name="connsiteX5" fmla="*/ 23813 w 301649"/>
                <a:gd name="connsiteY5" fmla="*/ 168313 h 194507"/>
                <a:gd name="connsiteX6" fmla="*/ 0 w 301649"/>
                <a:gd name="connsiteY6" fmla="*/ 175457 h 194507"/>
                <a:gd name="connsiteX7" fmla="*/ 97631 w 301649"/>
                <a:gd name="connsiteY7" fmla="*/ 4007 h 194507"/>
                <a:gd name="connsiteX8" fmla="*/ 214313 w 301649"/>
                <a:gd name="connsiteY8" fmla="*/ 44488 h 194507"/>
                <a:gd name="connsiteX9" fmla="*/ 300038 w 301649"/>
                <a:gd name="connsiteY9" fmla="*/ 194507 h 194507"/>
                <a:gd name="connsiteX0" fmla="*/ 300038 w 301649"/>
                <a:gd name="connsiteY0" fmla="*/ 195665 h 195665"/>
                <a:gd name="connsiteX1" fmla="*/ 271463 w 301649"/>
                <a:gd name="connsiteY1" fmla="*/ 121846 h 195665"/>
                <a:gd name="connsiteX2" fmla="*/ 195263 w 301649"/>
                <a:gd name="connsiteY2" fmla="*/ 112321 h 195665"/>
                <a:gd name="connsiteX3" fmla="*/ 52388 w 301649"/>
                <a:gd name="connsiteY3" fmla="*/ 105177 h 195665"/>
                <a:gd name="connsiteX4" fmla="*/ 21431 w 301649"/>
                <a:gd name="connsiteY4" fmla="*/ 124227 h 195665"/>
                <a:gd name="connsiteX5" fmla="*/ 23813 w 301649"/>
                <a:gd name="connsiteY5" fmla="*/ 169471 h 195665"/>
                <a:gd name="connsiteX6" fmla="*/ 0 w 301649"/>
                <a:gd name="connsiteY6" fmla="*/ 176615 h 195665"/>
                <a:gd name="connsiteX7" fmla="*/ 97631 w 301649"/>
                <a:gd name="connsiteY7" fmla="*/ 5165 h 195665"/>
                <a:gd name="connsiteX8" fmla="*/ 214313 w 301649"/>
                <a:gd name="connsiteY8" fmla="*/ 45646 h 195665"/>
                <a:gd name="connsiteX9" fmla="*/ 300038 w 301649"/>
                <a:gd name="connsiteY9" fmla="*/ 195665 h 195665"/>
                <a:gd name="connsiteX0" fmla="*/ 300038 w 301649"/>
                <a:gd name="connsiteY0" fmla="*/ 195665 h 195665"/>
                <a:gd name="connsiteX1" fmla="*/ 271463 w 301649"/>
                <a:gd name="connsiteY1" fmla="*/ 121846 h 195665"/>
                <a:gd name="connsiteX2" fmla="*/ 195263 w 301649"/>
                <a:gd name="connsiteY2" fmla="*/ 112321 h 195665"/>
                <a:gd name="connsiteX3" fmla="*/ 52388 w 301649"/>
                <a:gd name="connsiteY3" fmla="*/ 105177 h 195665"/>
                <a:gd name="connsiteX4" fmla="*/ 45243 w 301649"/>
                <a:gd name="connsiteY4" fmla="*/ 150420 h 195665"/>
                <a:gd name="connsiteX5" fmla="*/ 23813 w 301649"/>
                <a:gd name="connsiteY5" fmla="*/ 169471 h 195665"/>
                <a:gd name="connsiteX6" fmla="*/ 0 w 301649"/>
                <a:gd name="connsiteY6" fmla="*/ 176615 h 195665"/>
                <a:gd name="connsiteX7" fmla="*/ 97631 w 301649"/>
                <a:gd name="connsiteY7" fmla="*/ 5165 h 195665"/>
                <a:gd name="connsiteX8" fmla="*/ 214313 w 301649"/>
                <a:gd name="connsiteY8" fmla="*/ 45646 h 195665"/>
                <a:gd name="connsiteX9" fmla="*/ 300038 w 301649"/>
                <a:gd name="connsiteY9" fmla="*/ 195665 h 195665"/>
                <a:gd name="connsiteX0" fmla="*/ 300483 w 302094"/>
                <a:gd name="connsiteY0" fmla="*/ 195665 h 195665"/>
                <a:gd name="connsiteX1" fmla="*/ 271908 w 302094"/>
                <a:gd name="connsiteY1" fmla="*/ 121846 h 195665"/>
                <a:gd name="connsiteX2" fmla="*/ 195708 w 302094"/>
                <a:gd name="connsiteY2" fmla="*/ 112321 h 195665"/>
                <a:gd name="connsiteX3" fmla="*/ 52833 w 302094"/>
                <a:gd name="connsiteY3" fmla="*/ 105177 h 195665"/>
                <a:gd name="connsiteX4" fmla="*/ 45688 w 302094"/>
                <a:gd name="connsiteY4" fmla="*/ 150420 h 195665"/>
                <a:gd name="connsiteX5" fmla="*/ 24258 w 302094"/>
                <a:gd name="connsiteY5" fmla="*/ 169471 h 195665"/>
                <a:gd name="connsiteX6" fmla="*/ 445 w 302094"/>
                <a:gd name="connsiteY6" fmla="*/ 176615 h 195665"/>
                <a:gd name="connsiteX7" fmla="*/ 98076 w 302094"/>
                <a:gd name="connsiteY7" fmla="*/ 5165 h 195665"/>
                <a:gd name="connsiteX8" fmla="*/ 214758 w 302094"/>
                <a:gd name="connsiteY8" fmla="*/ 45646 h 195665"/>
                <a:gd name="connsiteX9" fmla="*/ 300483 w 302094"/>
                <a:gd name="connsiteY9" fmla="*/ 195665 h 195665"/>
                <a:gd name="connsiteX0" fmla="*/ 300483 w 302094"/>
                <a:gd name="connsiteY0" fmla="*/ 195665 h 195665"/>
                <a:gd name="connsiteX1" fmla="*/ 271908 w 302094"/>
                <a:gd name="connsiteY1" fmla="*/ 121846 h 195665"/>
                <a:gd name="connsiteX2" fmla="*/ 195708 w 302094"/>
                <a:gd name="connsiteY2" fmla="*/ 112321 h 195665"/>
                <a:gd name="connsiteX3" fmla="*/ 52833 w 302094"/>
                <a:gd name="connsiteY3" fmla="*/ 105177 h 195665"/>
                <a:gd name="connsiteX4" fmla="*/ 45688 w 302094"/>
                <a:gd name="connsiteY4" fmla="*/ 150420 h 195665"/>
                <a:gd name="connsiteX5" fmla="*/ 21877 w 302094"/>
                <a:gd name="connsiteY5" fmla="*/ 131371 h 195665"/>
                <a:gd name="connsiteX6" fmla="*/ 445 w 302094"/>
                <a:gd name="connsiteY6" fmla="*/ 176615 h 195665"/>
                <a:gd name="connsiteX7" fmla="*/ 98076 w 302094"/>
                <a:gd name="connsiteY7" fmla="*/ 5165 h 195665"/>
                <a:gd name="connsiteX8" fmla="*/ 214758 w 302094"/>
                <a:gd name="connsiteY8" fmla="*/ 45646 h 195665"/>
                <a:gd name="connsiteX9" fmla="*/ 300483 w 302094"/>
                <a:gd name="connsiteY9" fmla="*/ 195665 h 195665"/>
                <a:gd name="connsiteX0" fmla="*/ 300483 w 302094"/>
                <a:gd name="connsiteY0" fmla="*/ 195665 h 195665"/>
                <a:gd name="connsiteX1" fmla="*/ 271908 w 302094"/>
                <a:gd name="connsiteY1" fmla="*/ 121846 h 195665"/>
                <a:gd name="connsiteX2" fmla="*/ 195708 w 302094"/>
                <a:gd name="connsiteY2" fmla="*/ 112321 h 195665"/>
                <a:gd name="connsiteX3" fmla="*/ 52833 w 302094"/>
                <a:gd name="connsiteY3" fmla="*/ 105177 h 195665"/>
                <a:gd name="connsiteX4" fmla="*/ 43307 w 302094"/>
                <a:gd name="connsiteY4" fmla="*/ 126608 h 195665"/>
                <a:gd name="connsiteX5" fmla="*/ 21877 w 302094"/>
                <a:gd name="connsiteY5" fmla="*/ 131371 h 195665"/>
                <a:gd name="connsiteX6" fmla="*/ 445 w 302094"/>
                <a:gd name="connsiteY6" fmla="*/ 176615 h 195665"/>
                <a:gd name="connsiteX7" fmla="*/ 98076 w 302094"/>
                <a:gd name="connsiteY7" fmla="*/ 5165 h 195665"/>
                <a:gd name="connsiteX8" fmla="*/ 214758 w 302094"/>
                <a:gd name="connsiteY8" fmla="*/ 45646 h 195665"/>
                <a:gd name="connsiteX9" fmla="*/ 300483 w 302094"/>
                <a:gd name="connsiteY9" fmla="*/ 195665 h 195665"/>
                <a:gd name="connsiteX0" fmla="*/ 300483 w 302094"/>
                <a:gd name="connsiteY0" fmla="*/ 195665 h 195665"/>
                <a:gd name="connsiteX1" fmla="*/ 271908 w 302094"/>
                <a:gd name="connsiteY1" fmla="*/ 121846 h 195665"/>
                <a:gd name="connsiteX2" fmla="*/ 195708 w 302094"/>
                <a:gd name="connsiteY2" fmla="*/ 112321 h 195665"/>
                <a:gd name="connsiteX3" fmla="*/ 52833 w 302094"/>
                <a:gd name="connsiteY3" fmla="*/ 105177 h 195665"/>
                <a:gd name="connsiteX4" fmla="*/ 43307 w 302094"/>
                <a:gd name="connsiteY4" fmla="*/ 126608 h 195665"/>
                <a:gd name="connsiteX5" fmla="*/ 12352 w 302094"/>
                <a:gd name="connsiteY5" fmla="*/ 171852 h 195665"/>
                <a:gd name="connsiteX6" fmla="*/ 445 w 302094"/>
                <a:gd name="connsiteY6" fmla="*/ 176615 h 195665"/>
                <a:gd name="connsiteX7" fmla="*/ 98076 w 302094"/>
                <a:gd name="connsiteY7" fmla="*/ 5165 h 195665"/>
                <a:gd name="connsiteX8" fmla="*/ 214758 w 302094"/>
                <a:gd name="connsiteY8" fmla="*/ 45646 h 195665"/>
                <a:gd name="connsiteX9" fmla="*/ 300483 w 302094"/>
                <a:gd name="connsiteY9" fmla="*/ 195665 h 195665"/>
                <a:gd name="connsiteX0" fmla="*/ 300483 w 302094"/>
                <a:gd name="connsiteY0" fmla="*/ 195665 h 195665"/>
                <a:gd name="connsiteX1" fmla="*/ 271908 w 302094"/>
                <a:gd name="connsiteY1" fmla="*/ 121846 h 195665"/>
                <a:gd name="connsiteX2" fmla="*/ 195708 w 302094"/>
                <a:gd name="connsiteY2" fmla="*/ 112321 h 195665"/>
                <a:gd name="connsiteX3" fmla="*/ 52833 w 302094"/>
                <a:gd name="connsiteY3" fmla="*/ 105177 h 195665"/>
                <a:gd name="connsiteX4" fmla="*/ 43307 w 302094"/>
                <a:gd name="connsiteY4" fmla="*/ 126608 h 195665"/>
                <a:gd name="connsiteX5" fmla="*/ 12352 w 302094"/>
                <a:gd name="connsiteY5" fmla="*/ 171852 h 195665"/>
                <a:gd name="connsiteX6" fmla="*/ 445 w 302094"/>
                <a:gd name="connsiteY6" fmla="*/ 176615 h 195665"/>
                <a:gd name="connsiteX7" fmla="*/ 98076 w 302094"/>
                <a:gd name="connsiteY7" fmla="*/ 5165 h 195665"/>
                <a:gd name="connsiteX8" fmla="*/ 214758 w 302094"/>
                <a:gd name="connsiteY8" fmla="*/ 45646 h 195665"/>
                <a:gd name="connsiteX9" fmla="*/ 300483 w 302094"/>
                <a:gd name="connsiteY9" fmla="*/ 195665 h 195665"/>
                <a:gd name="connsiteX0" fmla="*/ 300483 w 302094"/>
                <a:gd name="connsiteY0" fmla="*/ 195665 h 195665"/>
                <a:gd name="connsiteX1" fmla="*/ 271908 w 302094"/>
                <a:gd name="connsiteY1" fmla="*/ 121846 h 195665"/>
                <a:gd name="connsiteX2" fmla="*/ 195708 w 302094"/>
                <a:gd name="connsiteY2" fmla="*/ 112321 h 195665"/>
                <a:gd name="connsiteX3" fmla="*/ 52833 w 302094"/>
                <a:gd name="connsiteY3" fmla="*/ 105177 h 195665"/>
                <a:gd name="connsiteX4" fmla="*/ 43307 w 302094"/>
                <a:gd name="connsiteY4" fmla="*/ 126608 h 195665"/>
                <a:gd name="connsiteX5" fmla="*/ 12352 w 302094"/>
                <a:gd name="connsiteY5" fmla="*/ 171852 h 195665"/>
                <a:gd name="connsiteX6" fmla="*/ 445 w 302094"/>
                <a:gd name="connsiteY6" fmla="*/ 176615 h 195665"/>
                <a:gd name="connsiteX7" fmla="*/ 98076 w 302094"/>
                <a:gd name="connsiteY7" fmla="*/ 5165 h 195665"/>
                <a:gd name="connsiteX8" fmla="*/ 214758 w 302094"/>
                <a:gd name="connsiteY8" fmla="*/ 45646 h 195665"/>
                <a:gd name="connsiteX9" fmla="*/ 300483 w 302094"/>
                <a:gd name="connsiteY9" fmla="*/ 195665 h 195665"/>
                <a:gd name="connsiteX0" fmla="*/ 300483 w 302094"/>
                <a:gd name="connsiteY0" fmla="*/ 195665 h 195665"/>
                <a:gd name="connsiteX1" fmla="*/ 271908 w 302094"/>
                <a:gd name="connsiteY1" fmla="*/ 121846 h 195665"/>
                <a:gd name="connsiteX2" fmla="*/ 195708 w 302094"/>
                <a:gd name="connsiteY2" fmla="*/ 112321 h 195665"/>
                <a:gd name="connsiteX3" fmla="*/ 52833 w 302094"/>
                <a:gd name="connsiteY3" fmla="*/ 105177 h 195665"/>
                <a:gd name="connsiteX4" fmla="*/ 43307 w 302094"/>
                <a:gd name="connsiteY4" fmla="*/ 126608 h 195665"/>
                <a:gd name="connsiteX5" fmla="*/ 12352 w 302094"/>
                <a:gd name="connsiteY5" fmla="*/ 171852 h 195665"/>
                <a:gd name="connsiteX6" fmla="*/ 445 w 302094"/>
                <a:gd name="connsiteY6" fmla="*/ 176615 h 195665"/>
                <a:gd name="connsiteX7" fmla="*/ 98076 w 302094"/>
                <a:gd name="connsiteY7" fmla="*/ 5165 h 195665"/>
                <a:gd name="connsiteX8" fmla="*/ 214758 w 302094"/>
                <a:gd name="connsiteY8" fmla="*/ 45646 h 195665"/>
                <a:gd name="connsiteX9" fmla="*/ 300483 w 302094"/>
                <a:gd name="connsiteY9" fmla="*/ 195665 h 195665"/>
                <a:gd name="connsiteX0" fmla="*/ 300483 w 302094"/>
                <a:gd name="connsiteY0" fmla="*/ 195665 h 195665"/>
                <a:gd name="connsiteX1" fmla="*/ 271908 w 302094"/>
                <a:gd name="connsiteY1" fmla="*/ 121846 h 195665"/>
                <a:gd name="connsiteX2" fmla="*/ 195708 w 302094"/>
                <a:gd name="connsiteY2" fmla="*/ 112321 h 195665"/>
                <a:gd name="connsiteX3" fmla="*/ 52833 w 302094"/>
                <a:gd name="connsiteY3" fmla="*/ 105177 h 195665"/>
                <a:gd name="connsiteX4" fmla="*/ 43307 w 302094"/>
                <a:gd name="connsiteY4" fmla="*/ 126608 h 195665"/>
                <a:gd name="connsiteX5" fmla="*/ 12352 w 302094"/>
                <a:gd name="connsiteY5" fmla="*/ 171852 h 195665"/>
                <a:gd name="connsiteX6" fmla="*/ 445 w 302094"/>
                <a:gd name="connsiteY6" fmla="*/ 176615 h 195665"/>
                <a:gd name="connsiteX7" fmla="*/ 98076 w 302094"/>
                <a:gd name="connsiteY7" fmla="*/ 5165 h 195665"/>
                <a:gd name="connsiteX8" fmla="*/ 214758 w 302094"/>
                <a:gd name="connsiteY8" fmla="*/ 45646 h 195665"/>
                <a:gd name="connsiteX9" fmla="*/ 300483 w 302094"/>
                <a:gd name="connsiteY9" fmla="*/ 195665 h 195665"/>
                <a:gd name="connsiteX0" fmla="*/ 300483 w 301906"/>
                <a:gd name="connsiteY0" fmla="*/ 195665 h 195665"/>
                <a:gd name="connsiteX1" fmla="*/ 271908 w 301906"/>
                <a:gd name="connsiteY1" fmla="*/ 121846 h 195665"/>
                <a:gd name="connsiteX2" fmla="*/ 195708 w 301906"/>
                <a:gd name="connsiteY2" fmla="*/ 112321 h 195665"/>
                <a:gd name="connsiteX3" fmla="*/ 52833 w 301906"/>
                <a:gd name="connsiteY3" fmla="*/ 105177 h 195665"/>
                <a:gd name="connsiteX4" fmla="*/ 43307 w 301906"/>
                <a:gd name="connsiteY4" fmla="*/ 126608 h 195665"/>
                <a:gd name="connsiteX5" fmla="*/ 12352 w 301906"/>
                <a:gd name="connsiteY5" fmla="*/ 171852 h 195665"/>
                <a:gd name="connsiteX6" fmla="*/ 445 w 301906"/>
                <a:gd name="connsiteY6" fmla="*/ 176615 h 195665"/>
                <a:gd name="connsiteX7" fmla="*/ 98076 w 301906"/>
                <a:gd name="connsiteY7" fmla="*/ 5165 h 195665"/>
                <a:gd name="connsiteX8" fmla="*/ 214758 w 301906"/>
                <a:gd name="connsiteY8" fmla="*/ 45646 h 195665"/>
                <a:gd name="connsiteX9" fmla="*/ 300483 w 301906"/>
                <a:gd name="connsiteY9" fmla="*/ 195665 h 195665"/>
                <a:gd name="connsiteX0" fmla="*/ 300483 w 301906"/>
                <a:gd name="connsiteY0" fmla="*/ 195665 h 195665"/>
                <a:gd name="connsiteX1" fmla="*/ 271908 w 301906"/>
                <a:gd name="connsiteY1" fmla="*/ 121846 h 195665"/>
                <a:gd name="connsiteX2" fmla="*/ 195708 w 301906"/>
                <a:gd name="connsiteY2" fmla="*/ 112321 h 195665"/>
                <a:gd name="connsiteX3" fmla="*/ 52833 w 301906"/>
                <a:gd name="connsiteY3" fmla="*/ 105177 h 195665"/>
                <a:gd name="connsiteX4" fmla="*/ 43307 w 301906"/>
                <a:gd name="connsiteY4" fmla="*/ 126608 h 195665"/>
                <a:gd name="connsiteX5" fmla="*/ 12352 w 301906"/>
                <a:gd name="connsiteY5" fmla="*/ 171852 h 195665"/>
                <a:gd name="connsiteX6" fmla="*/ 445 w 301906"/>
                <a:gd name="connsiteY6" fmla="*/ 176615 h 195665"/>
                <a:gd name="connsiteX7" fmla="*/ 98076 w 301906"/>
                <a:gd name="connsiteY7" fmla="*/ 5165 h 195665"/>
                <a:gd name="connsiteX8" fmla="*/ 214758 w 301906"/>
                <a:gd name="connsiteY8" fmla="*/ 45646 h 195665"/>
                <a:gd name="connsiteX9" fmla="*/ 300483 w 301906"/>
                <a:gd name="connsiteY9" fmla="*/ 195665 h 195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1906" h="195665">
                  <a:moveTo>
                    <a:pt x="300483" y="195665"/>
                  </a:moveTo>
                  <a:cubicBezTo>
                    <a:pt x="231426" y="159153"/>
                    <a:pt x="281433" y="146452"/>
                    <a:pt x="271908" y="121846"/>
                  </a:cubicBezTo>
                  <a:cubicBezTo>
                    <a:pt x="246508" y="130578"/>
                    <a:pt x="221108" y="115496"/>
                    <a:pt x="195708" y="112321"/>
                  </a:cubicBezTo>
                  <a:cubicBezTo>
                    <a:pt x="117127" y="138515"/>
                    <a:pt x="86170" y="124227"/>
                    <a:pt x="52833" y="105177"/>
                  </a:cubicBezTo>
                  <a:lnTo>
                    <a:pt x="43307" y="126608"/>
                  </a:lnTo>
                  <a:cubicBezTo>
                    <a:pt x="32989" y="141689"/>
                    <a:pt x="32195" y="178203"/>
                    <a:pt x="12352" y="171852"/>
                  </a:cubicBezTo>
                  <a:lnTo>
                    <a:pt x="445" y="176615"/>
                  </a:lnTo>
                  <a:cubicBezTo>
                    <a:pt x="-2730" y="105177"/>
                    <a:pt x="9176" y="22627"/>
                    <a:pt x="98076" y="5165"/>
                  </a:cubicBezTo>
                  <a:cubicBezTo>
                    <a:pt x="186976" y="-12297"/>
                    <a:pt x="204439" y="17864"/>
                    <a:pt x="214758" y="45646"/>
                  </a:cubicBezTo>
                  <a:cubicBezTo>
                    <a:pt x="302864" y="31358"/>
                    <a:pt x="305246" y="133753"/>
                    <a:pt x="300483" y="195665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63" name="Group 62"/>
            <p:cNvGrpSpPr/>
            <p:nvPr/>
          </p:nvGrpSpPr>
          <p:grpSpPr>
            <a:xfrm>
              <a:off x="10896044" y="4865466"/>
              <a:ext cx="207087" cy="411083"/>
              <a:chOff x="11502243" y="5075407"/>
              <a:chExt cx="155872" cy="309418"/>
            </a:xfrm>
          </p:grpSpPr>
          <p:sp>
            <p:nvSpPr>
              <p:cNvPr id="64" name="Freeform 218"/>
              <p:cNvSpPr>
                <a:spLocks/>
              </p:cNvSpPr>
              <p:nvPr/>
            </p:nvSpPr>
            <p:spPr bwMode="auto">
              <a:xfrm>
                <a:off x="11502243" y="5075407"/>
                <a:ext cx="155872" cy="309418"/>
              </a:xfrm>
              <a:custGeom>
                <a:avLst/>
                <a:gdLst>
                  <a:gd name="T0" fmla="*/ 98 w 98"/>
                  <a:gd name="T1" fmla="*/ 193 h 197"/>
                  <a:gd name="T2" fmla="*/ 94 w 98"/>
                  <a:gd name="T3" fmla="*/ 197 h 197"/>
                  <a:gd name="T4" fmla="*/ 4 w 98"/>
                  <a:gd name="T5" fmla="*/ 197 h 197"/>
                  <a:gd name="T6" fmla="*/ 0 w 98"/>
                  <a:gd name="T7" fmla="*/ 193 h 197"/>
                  <a:gd name="T8" fmla="*/ 0 w 98"/>
                  <a:gd name="T9" fmla="*/ 4 h 197"/>
                  <a:gd name="T10" fmla="*/ 4 w 98"/>
                  <a:gd name="T11" fmla="*/ 0 h 197"/>
                  <a:gd name="T12" fmla="*/ 94 w 98"/>
                  <a:gd name="T13" fmla="*/ 0 h 197"/>
                  <a:gd name="T14" fmla="*/ 98 w 98"/>
                  <a:gd name="T15" fmla="*/ 4 h 197"/>
                  <a:gd name="T16" fmla="*/ 98 w 98"/>
                  <a:gd name="T17" fmla="*/ 193 h 1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8" h="197">
                    <a:moveTo>
                      <a:pt x="98" y="193"/>
                    </a:moveTo>
                    <a:cubicBezTo>
                      <a:pt x="98" y="195"/>
                      <a:pt x="96" y="197"/>
                      <a:pt x="94" y="197"/>
                    </a:cubicBezTo>
                    <a:cubicBezTo>
                      <a:pt x="4" y="197"/>
                      <a:pt x="4" y="197"/>
                      <a:pt x="4" y="197"/>
                    </a:cubicBezTo>
                    <a:cubicBezTo>
                      <a:pt x="2" y="197"/>
                      <a:pt x="0" y="195"/>
                      <a:pt x="0" y="193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94" y="0"/>
                      <a:pt x="94" y="0"/>
                      <a:pt x="94" y="0"/>
                    </a:cubicBezTo>
                    <a:cubicBezTo>
                      <a:pt x="96" y="0"/>
                      <a:pt x="98" y="2"/>
                      <a:pt x="98" y="4"/>
                    </a:cubicBezTo>
                    <a:lnTo>
                      <a:pt x="98" y="193"/>
                    </a:lnTo>
                    <a:close/>
                  </a:path>
                </a:pathLst>
              </a:custGeom>
              <a:solidFill>
                <a:srgbClr val="C0000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5" name="Rectangle 219"/>
              <p:cNvSpPr>
                <a:spLocks noChangeArrowheads="1"/>
              </p:cNvSpPr>
              <p:nvPr/>
            </p:nvSpPr>
            <p:spPr bwMode="auto">
              <a:xfrm>
                <a:off x="11516202" y="5136476"/>
                <a:ext cx="29081" cy="29662"/>
              </a:xfrm>
              <a:prstGeom prst="rect">
                <a:avLst/>
              </a:prstGeom>
              <a:solidFill>
                <a:srgbClr val="FFB9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6" name="Rectangle 220"/>
              <p:cNvSpPr>
                <a:spLocks noChangeArrowheads="1"/>
              </p:cNvSpPr>
              <p:nvPr/>
            </p:nvSpPr>
            <p:spPr bwMode="auto">
              <a:xfrm>
                <a:off x="11548190" y="5136476"/>
                <a:ext cx="30244" cy="29662"/>
              </a:xfrm>
              <a:prstGeom prst="rect">
                <a:avLst/>
              </a:prstGeom>
              <a:solidFill>
                <a:srgbClr val="FFB9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7" name="Rectangle 221"/>
              <p:cNvSpPr>
                <a:spLocks noChangeArrowheads="1"/>
              </p:cNvSpPr>
              <p:nvPr/>
            </p:nvSpPr>
            <p:spPr bwMode="auto">
              <a:xfrm>
                <a:off x="11581924" y="5136476"/>
                <a:ext cx="29662" cy="29662"/>
              </a:xfrm>
              <a:prstGeom prst="rect">
                <a:avLst/>
              </a:prstGeom>
              <a:solidFill>
                <a:srgbClr val="FFB9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8" name="Rectangle 222"/>
              <p:cNvSpPr>
                <a:spLocks noChangeArrowheads="1"/>
              </p:cNvSpPr>
              <p:nvPr/>
            </p:nvSpPr>
            <p:spPr bwMode="auto">
              <a:xfrm>
                <a:off x="11615076" y="5136476"/>
                <a:ext cx="30244" cy="29662"/>
              </a:xfrm>
              <a:prstGeom prst="rect">
                <a:avLst/>
              </a:prstGeom>
              <a:solidFill>
                <a:srgbClr val="FFB9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9" name="Rectangle 223"/>
              <p:cNvSpPr>
                <a:spLocks noChangeArrowheads="1"/>
              </p:cNvSpPr>
              <p:nvPr/>
            </p:nvSpPr>
            <p:spPr bwMode="auto">
              <a:xfrm>
                <a:off x="11516202" y="5234187"/>
                <a:ext cx="62233" cy="61070"/>
              </a:xfrm>
              <a:prstGeom prst="rect">
                <a:avLst/>
              </a:prstGeom>
              <a:solidFill>
                <a:srgbClr val="0072C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0" name="Rectangle 224"/>
              <p:cNvSpPr>
                <a:spLocks noChangeArrowheads="1"/>
              </p:cNvSpPr>
              <p:nvPr/>
            </p:nvSpPr>
            <p:spPr bwMode="auto">
              <a:xfrm>
                <a:off x="11516202" y="5299910"/>
                <a:ext cx="129118" cy="47111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1" name="Rectangle 225"/>
              <p:cNvSpPr>
                <a:spLocks noChangeArrowheads="1"/>
              </p:cNvSpPr>
              <p:nvPr/>
            </p:nvSpPr>
            <p:spPr bwMode="auto">
              <a:xfrm>
                <a:off x="11581924" y="5234187"/>
                <a:ext cx="29662" cy="29662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" name="Rectangle 226"/>
              <p:cNvSpPr>
                <a:spLocks noChangeArrowheads="1"/>
              </p:cNvSpPr>
              <p:nvPr/>
            </p:nvSpPr>
            <p:spPr bwMode="auto">
              <a:xfrm>
                <a:off x="11615076" y="5234187"/>
                <a:ext cx="30244" cy="29662"/>
              </a:xfrm>
              <a:prstGeom prst="rect">
                <a:avLst/>
              </a:prstGeom>
              <a:solidFill>
                <a:srgbClr val="FFB9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" name="Rectangle 227"/>
              <p:cNvSpPr>
                <a:spLocks noChangeArrowheads="1"/>
              </p:cNvSpPr>
              <p:nvPr/>
            </p:nvSpPr>
            <p:spPr bwMode="auto">
              <a:xfrm>
                <a:off x="11581924" y="5265594"/>
                <a:ext cx="29662" cy="29662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4" name="Rectangle 228"/>
              <p:cNvSpPr>
                <a:spLocks noChangeArrowheads="1"/>
              </p:cNvSpPr>
              <p:nvPr/>
            </p:nvSpPr>
            <p:spPr bwMode="auto">
              <a:xfrm>
                <a:off x="11615076" y="5265594"/>
                <a:ext cx="30244" cy="29662"/>
              </a:xfrm>
              <a:prstGeom prst="rect">
                <a:avLst/>
              </a:prstGeom>
              <a:solidFill>
                <a:srgbClr val="FFB9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5" name="Rectangle 229"/>
              <p:cNvSpPr>
                <a:spLocks noChangeArrowheads="1"/>
              </p:cNvSpPr>
              <p:nvPr/>
            </p:nvSpPr>
            <p:spPr bwMode="auto">
              <a:xfrm>
                <a:off x="11516202" y="5169628"/>
                <a:ext cx="29081" cy="27917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6" name="Rectangle 230"/>
              <p:cNvSpPr>
                <a:spLocks noChangeArrowheads="1"/>
              </p:cNvSpPr>
              <p:nvPr/>
            </p:nvSpPr>
            <p:spPr bwMode="auto">
              <a:xfrm>
                <a:off x="11548190" y="5169628"/>
                <a:ext cx="63396" cy="27917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7" name="Rectangle 231"/>
              <p:cNvSpPr>
                <a:spLocks noChangeArrowheads="1"/>
              </p:cNvSpPr>
              <p:nvPr/>
            </p:nvSpPr>
            <p:spPr bwMode="auto">
              <a:xfrm>
                <a:off x="11615076" y="5169628"/>
                <a:ext cx="30244" cy="27917"/>
              </a:xfrm>
              <a:prstGeom prst="rect">
                <a:avLst/>
              </a:prstGeom>
              <a:solidFill>
                <a:srgbClr val="FFB9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8" name="Rectangle 232"/>
              <p:cNvSpPr>
                <a:spLocks noChangeArrowheads="1"/>
              </p:cNvSpPr>
              <p:nvPr/>
            </p:nvSpPr>
            <p:spPr bwMode="auto">
              <a:xfrm>
                <a:off x="11516202" y="5201035"/>
                <a:ext cx="29081" cy="29662"/>
              </a:xfrm>
              <a:prstGeom prst="rect">
                <a:avLst/>
              </a:prstGeom>
              <a:solidFill>
                <a:srgbClr val="4BC1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" name="Rectangle 233"/>
              <p:cNvSpPr>
                <a:spLocks noChangeArrowheads="1"/>
              </p:cNvSpPr>
              <p:nvPr/>
            </p:nvSpPr>
            <p:spPr bwMode="auto">
              <a:xfrm>
                <a:off x="11548190" y="5201035"/>
                <a:ext cx="63396" cy="29662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0" name="Rectangle 234"/>
              <p:cNvSpPr>
                <a:spLocks noChangeArrowheads="1"/>
              </p:cNvSpPr>
              <p:nvPr/>
            </p:nvSpPr>
            <p:spPr bwMode="auto">
              <a:xfrm>
                <a:off x="11615076" y="5201035"/>
                <a:ext cx="30244" cy="29662"/>
              </a:xfrm>
              <a:prstGeom prst="rect">
                <a:avLst/>
              </a:prstGeom>
              <a:solidFill>
                <a:srgbClr val="0072C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</a:endParaRPr>
              </a:p>
            </p:txBody>
          </p:sp>
          <p:grpSp>
            <p:nvGrpSpPr>
              <p:cNvPr id="81" name="Group 80"/>
              <p:cNvGrpSpPr/>
              <p:nvPr/>
            </p:nvGrpSpPr>
            <p:grpSpPr>
              <a:xfrm>
                <a:off x="11624989" y="5362724"/>
                <a:ext cx="9280" cy="11537"/>
                <a:chOff x="16046420" y="2719840"/>
                <a:chExt cx="1794809" cy="2231321"/>
              </a:xfrm>
              <a:solidFill>
                <a:sysClr val="window" lastClr="FFFFFF"/>
              </a:solidFill>
            </p:grpSpPr>
            <p:sp>
              <p:nvSpPr>
                <p:cNvPr id="97" name="Freeform 237"/>
                <p:cNvSpPr>
                  <a:spLocks noEditPoints="1"/>
                </p:cNvSpPr>
                <p:nvPr/>
              </p:nvSpPr>
              <p:spPr bwMode="auto">
                <a:xfrm>
                  <a:off x="16266349" y="2719840"/>
                  <a:ext cx="1574880" cy="1574880"/>
                </a:xfrm>
                <a:prstGeom prst="donut">
                  <a:avLst>
                    <a:gd name="adj" fmla="val 21748"/>
                  </a:avLst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F3F3F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98" name="Freeform 238"/>
                <p:cNvSpPr>
                  <a:spLocks/>
                </p:cNvSpPr>
                <p:nvPr/>
              </p:nvSpPr>
              <p:spPr bwMode="auto">
                <a:xfrm rot="2687950">
                  <a:off x="16046420" y="3713718"/>
                  <a:ext cx="414623" cy="1237443"/>
                </a:xfrm>
                <a:prstGeom prst="roundRect">
                  <a:avLst>
                    <a:gd name="adj" fmla="val 50000"/>
                  </a:avLst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F3F3F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82" name="Freeform 244"/>
              <p:cNvSpPr>
                <a:spLocks/>
              </p:cNvSpPr>
              <p:nvPr/>
            </p:nvSpPr>
            <p:spPr bwMode="auto">
              <a:xfrm>
                <a:off x="11563894" y="5091110"/>
                <a:ext cx="36642" cy="4653"/>
              </a:xfrm>
              <a:prstGeom prst="roundRect">
                <a:avLst>
                  <a:gd name="adj" fmla="val 50000"/>
                </a:avLst>
              </a:prstGeom>
              <a:solidFill>
                <a:sysClr val="window" lastClr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</a:endParaRPr>
              </a:p>
            </p:txBody>
          </p:sp>
          <p:grpSp>
            <p:nvGrpSpPr>
              <p:cNvPr id="83" name="Group 82"/>
              <p:cNvGrpSpPr/>
              <p:nvPr/>
            </p:nvGrpSpPr>
            <p:grpSpPr>
              <a:xfrm>
                <a:off x="11516202" y="5114375"/>
                <a:ext cx="9761" cy="8243"/>
                <a:chOff x="-5894478" y="-45314146"/>
                <a:chExt cx="1887887" cy="1237443"/>
              </a:xfrm>
            </p:grpSpPr>
            <p:sp>
              <p:nvSpPr>
                <p:cNvPr id="92" name="Rectangle 245"/>
                <p:cNvSpPr>
                  <a:spLocks noChangeArrowheads="1"/>
                </p:cNvSpPr>
                <p:nvPr/>
              </p:nvSpPr>
              <p:spPr bwMode="auto">
                <a:xfrm>
                  <a:off x="-4280911" y="-45314146"/>
                  <a:ext cx="274320" cy="1237443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F3F3F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93" name="Rectangle 246"/>
                <p:cNvSpPr>
                  <a:spLocks noChangeArrowheads="1"/>
                </p:cNvSpPr>
                <p:nvPr/>
              </p:nvSpPr>
              <p:spPr bwMode="auto">
                <a:xfrm>
                  <a:off x="-4684302" y="-45128263"/>
                  <a:ext cx="274320" cy="105156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F3F3F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94" name="Rectangle 247"/>
                <p:cNvSpPr>
                  <a:spLocks noChangeArrowheads="1"/>
                </p:cNvSpPr>
                <p:nvPr/>
              </p:nvSpPr>
              <p:spPr bwMode="auto">
                <a:xfrm>
                  <a:off x="-5087694" y="-44945383"/>
                  <a:ext cx="274320" cy="86868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F3F3F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95" name="Rectangle 248"/>
                <p:cNvSpPr>
                  <a:spLocks noChangeArrowheads="1"/>
                </p:cNvSpPr>
                <p:nvPr/>
              </p:nvSpPr>
              <p:spPr bwMode="auto">
                <a:xfrm>
                  <a:off x="-5491086" y="-44762503"/>
                  <a:ext cx="274320" cy="68580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F3F3F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96" name="Rectangle 249"/>
                <p:cNvSpPr>
                  <a:spLocks noChangeArrowheads="1"/>
                </p:cNvSpPr>
                <p:nvPr/>
              </p:nvSpPr>
              <p:spPr bwMode="auto">
                <a:xfrm>
                  <a:off x="-5894478" y="-44579623"/>
                  <a:ext cx="274320" cy="50292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F3F3F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84" name="Rectangle 250"/>
              <p:cNvSpPr>
                <a:spLocks noChangeArrowheads="1"/>
              </p:cNvSpPr>
              <p:nvPr/>
            </p:nvSpPr>
            <p:spPr bwMode="auto">
              <a:xfrm>
                <a:off x="11638229" y="5115613"/>
                <a:ext cx="6398" cy="8117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5" name="Freeform 79"/>
              <p:cNvSpPr>
                <a:spLocks/>
              </p:cNvSpPr>
              <p:nvPr/>
            </p:nvSpPr>
            <p:spPr bwMode="black">
              <a:xfrm>
                <a:off x="11518945" y="5362966"/>
                <a:ext cx="11681" cy="9981"/>
              </a:xfrm>
              <a:custGeom>
                <a:avLst/>
                <a:gdLst>
                  <a:gd name="T0" fmla="*/ 45 w 131"/>
                  <a:gd name="T1" fmla="*/ 60 h 96"/>
                  <a:gd name="T2" fmla="*/ 83 w 131"/>
                  <a:gd name="T3" fmla="*/ 96 h 96"/>
                  <a:gd name="T4" fmla="*/ 51 w 131"/>
                  <a:gd name="T5" fmla="*/ 96 h 96"/>
                  <a:gd name="T6" fmla="*/ 0 w 131"/>
                  <a:gd name="T7" fmla="*/ 47 h 96"/>
                  <a:gd name="T8" fmla="*/ 51 w 131"/>
                  <a:gd name="T9" fmla="*/ 0 h 96"/>
                  <a:gd name="T10" fmla="*/ 83 w 131"/>
                  <a:gd name="T11" fmla="*/ 0 h 96"/>
                  <a:gd name="T12" fmla="*/ 45 w 131"/>
                  <a:gd name="T13" fmla="*/ 35 h 96"/>
                  <a:gd name="T14" fmla="*/ 131 w 131"/>
                  <a:gd name="T15" fmla="*/ 35 h 96"/>
                  <a:gd name="T16" fmla="*/ 131 w 131"/>
                  <a:gd name="T17" fmla="*/ 60 h 96"/>
                  <a:gd name="T18" fmla="*/ 45 w 131"/>
                  <a:gd name="T19" fmla="*/ 60 h 96"/>
                  <a:gd name="connsiteX0" fmla="*/ 3435 w 10000"/>
                  <a:gd name="connsiteY0" fmla="*/ 7342 h 11092"/>
                  <a:gd name="connsiteX1" fmla="*/ 6336 w 10000"/>
                  <a:gd name="connsiteY1" fmla="*/ 11092 h 11092"/>
                  <a:gd name="connsiteX2" fmla="*/ 3893 w 10000"/>
                  <a:gd name="connsiteY2" fmla="*/ 11092 h 11092"/>
                  <a:gd name="connsiteX3" fmla="*/ 0 w 10000"/>
                  <a:gd name="connsiteY3" fmla="*/ 5988 h 11092"/>
                  <a:gd name="connsiteX4" fmla="*/ 3893 w 10000"/>
                  <a:gd name="connsiteY4" fmla="*/ 1092 h 11092"/>
                  <a:gd name="connsiteX5" fmla="*/ 6336 w 10000"/>
                  <a:gd name="connsiteY5" fmla="*/ 1092 h 11092"/>
                  <a:gd name="connsiteX6" fmla="*/ 3435 w 10000"/>
                  <a:gd name="connsiteY6" fmla="*/ 4738 h 11092"/>
                  <a:gd name="connsiteX7" fmla="*/ 10000 w 10000"/>
                  <a:gd name="connsiteY7" fmla="*/ 4738 h 11092"/>
                  <a:gd name="connsiteX8" fmla="*/ 10000 w 10000"/>
                  <a:gd name="connsiteY8" fmla="*/ 7342 h 11092"/>
                  <a:gd name="connsiteX9" fmla="*/ 3435 w 10000"/>
                  <a:gd name="connsiteY9" fmla="*/ 7342 h 11092"/>
                  <a:gd name="connsiteX0" fmla="*/ 3435 w 10000"/>
                  <a:gd name="connsiteY0" fmla="*/ 7629 h 11379"/>
                  <a:gd name="connsiteX1" fmla="*/ 6336 w 10000"/>
                  <a:gd name="connsiteY1" fmla="*/ 11379 h 11379"/>
                  <a:gd name="connsiteX2" fmla="*/ 3893 w 10000"/>
                  <a:gd name="connsiteY2" fmla="*/ 11379 h 11379"/>
                  <a:gd name="connsiteX3" fmla="*/ 0 w 10000"/>
                  <a:gd name="connsiteY3" fmla="*/ 6275 h 11379"/>
                  <a:gd name="connsiteX4" fmla="*/ 3893 w 10000"/>
                  <a:gd name="connsiteY4" fmla="*/ 1379 h 11379"/>
                  <a:gd name="connsiteX5" fmla="*/ 6336 w 10000"/>
                  <a:gd name="connsiteY5" fmla="*/ 1379 h 11379"/>
                  <a:gd name="connsiteX6" fmla="*/ 3435 w 10000"/>
                  <a:gd name="connsiteY6" fmla="*/ 5025 h 11379"/>
                  <a:gd name="connsiteX7" fmla="*/ 10000 w 10000"/>
                  <a:gd name="connsiteY7" fmla="*/ 5025 h 11379"/>
                  <a:gd name="connsiteX8" fmla="*/ 10000 w 10000"/>
                  <a:gd name="connsiteY8" fmla="*/ 7629 h 11379"/>
                  <a:gd name="connsiteX9" fmla="*/ 3435 w 10000"/>
                  <a:gd name="connsiteY9" fmla="*/ 7629 h 11379"/>
                  <a:gd name="connsiteX0" fmla="*/ 3435 w 10000"/>
                  <a:gd name="connsiteY0" fmla="*/ 7629 h 11379"/>
                  <a:gd name="connsiteX1" fmla="*/ 6336 w 10000"/>
                  <a:gd name="connsiteY1" fmla="*/ 11379 h 11379"/>
                  <a:gd name="connsiteX2" fmla="*/ 3893 w 10000"/>
                  <a:gd name="connsiteY2" fmla="*/ 11379 h 11379"/>
                  <a:gd name="connsiteX3" fmla="*/ 0 w 10000"/>
                  <a:gd name="connsiteY3" fmla="*/ 6275 h 11379"/>
                  <a:gd name="connsiteX4" fmla="*/ 3893 w 10000"/>
                  <a:gd name="connsiteY4" fmla="*/ 1379 h 11379"/>
                  <a:gd name="connsiteX5" fmla="*/ 6336 w 10000"/>
                  <a:gd name="connsiteY5" fmla="*/ 1379 h 11379"/>
                  <a:gd name="connsiteX6" fmla="*/ 3435 w 10000"/>
                  <a:gd name="connsiteY6" fmla="*/ 5025 h 11379"/>
                  <a:gd name="connsiteX7" fmla="*/ 10000 w 10000"/>
                  <a:gd name="connsiteY7" fmla="*/ 5025 h 11379"/>
                  <a:gd name="connsiteX8" fmla="*/ 10000 w 10000"/>
                  <a:gd name="connsiteY8" fmla="*/ 7629 h 11379"/>
                  <a:gd name="connsiteX9" fmla="*/ 3435 w 10000"/>
                  <a:gd name="connsiteY9" fmla="*/ 7629 h 11379"/>
                  <a:gd name="connsiteX0" fmla="*/ 3435 w 10000"/>
                  <a:gd name="connsiteY0" fmla="*/ 7629 h 12094"/>
                  <a:gd name="connsiteX1" fmla="*/ 6336 w 10000"/>
                  <a:gd name="connsiteY1" fmla="*/ 11379 h 12094"/>
                  <a:gd name="connsiteX2" fmla="*/ 3893 w 10000"/>
                  <a:gd name="connsiteY2" fmla="*/ 11379 h 12094"/>
                  <a:gd name="connsiteX3" fmla="*/ 0 w 10000"/>
                  <a:gd name="connsiteY3" fmla="*/ 6275 h 12094"/>
                  <a:gd name="connsiteX4" fmla="*/ 3893 w 10000"/>
                  <a:gd name="connsiteY4" fmla="*/ 1379 h 12094"/>
                  <a:gd name="connsiteX5" fmla="*/ 6336 w 10000"/>
                  <a:gd name="connsiteY5" fmla="*/ 1379 h 12094"/>
                  <a:gd name="connsiteX6" fmla="*/ 3435 w 10000"/>
                  <a:gd name="connsiteY6" fmla="*/ 5025 h 12094"/>
                  <a:gd name="connsiteX7" fmla="*/ 10000 w 10000"/>
                  <a:gd name="connsiteY7" fmla="*/ 5025 h 12094"/>
                  <a:gd name="connsiteX8" fmla="*/ 10000 w 10000"/>
                  <a:gd name="connsiteY8" fmla="*/ 7629 h 12094"/>
                  <a:gd name="connsiteX9" fmla="*/ 3435 w 10000"/>
                  <a:gd name="connsiteY9" fmla="*/ 7629 h 12094"/>
                  <a:gd name="connsiteX0" fmla="*/ 3435 w 10000"/>
                  <a:gd name="connsiteY0" fmla="*/ 7629 h 12524"/>
                  <a:gd name="connsiteX1" fmla="*/ 6336 w 10000"/>
                  <a:gd name="connsiteY1" fmla="*/ 11379 h 12524"/>
                  <a:gd name="connsiteX2" fmla="*/ 3893 w 10000"/>
                  <a:gd name="connsiteY2" fmla="*/ 11379 h 12524"/>
                  <a:gd name="connsiteX3" fmla="*/ 0 w 10000"/>
                  <a:gd name="connsiteY3" fmla="*/ 6275 h 12524"/>
                  <a:gd name="connsiteX4" fmla="*/ 3893 w 10000"/>
                  <a:gd name="connsiteY4" fmla="*/ 1379 h 12524"/>
                  <a:gd name="connsiteX5" fmla="*/ 6336 w 10000"/>
                  <a:gd name="connsiteY5" fmla="*/ 1379 h 12524"/>
                  <a:gd name="connsiteX6" fmla="*/ 3435 w 10000"/>
                  <a:gd name="connsiteY6" fmla="*/ 5025 h 12524"/>
                  <a:gd name="connsiteX7" fmla="*/ 10000 w 10000"/>
                  <a:gd name="connsiteY7" fmla="*/ 5025 h 12524"/>
                  <a:gd name="connsiteX8" fmla="*/ 10000 w 10000"/>
                  <a:gd name="connsiteY8" fmla="*/ 7629 h 12524"/>
                  <a:gd name="connsiteX9" fmla="*/ 3435 w 10000"/>
                  <a:gd name="connsiteY9" fmla="*/ 7629 h 12524"/>
                  <a:gd name="connsiteX0" fmla="*/ 3435 w 10000"/>
                  <a:gd name="connsiteY0" fmla="*/ 7629 h 12404"/>
                  <a:gd name="connsiteX1" fmla="*/ 6336 w 10000"/>
                  <a:gd name="connsiteY1" fmla="*/ 11379 h 12404"/>
                  <a:gd name="connsiteX2" fmla="*/ 3893 w 10000"/>
                  <a:gd name="connsiteY2" fmla="*/ 11379 h 12404"/>
                  <a:gd name="connsiteX3" fmla="*/ 0 w 10000"/>
                  <a:gd name="connsiteY3" fmla="*/ 6275 h 12404"/>
                  <a:gd name="connsiteX4" fmla="*/ 3893 w 10000"/>
                  <a:gd name="connsiteY4" fmla="*/ 1379 h 12404"/>
                  <a:gd name="connsiteX5" fmla="*/ 6336 w 10000"/>
                  <a:gd name="connsiteY5" fmla="*/ 1379 h 12404"/>
                  <a:gd name="connsiteX6" fmla="*/ 3435 w 10000"/>
                  <a:gd name="connsiteY6" fmla="*/ 5025 h 12404"/>
                  <a:gd name="connsiteX7" fmla="*/ 10000 w 10000"/>
                  <a:gd name="connsiteY7" fmla="*/ 5025 h 12404"/>
                  <a:gd name="connsiteX8" fmla="*/ 10000 w 10000"/>
                  <a:gd name="connsiteY8" fmla="*/ 7629 h 12404"/>
                  <a:gd name="connsiteX9" fmla="*/ 3435 w 10000"/>
                  <a:gd name="connsiteY9" fmla="*/ 7629 h 12404"/>
                  <a:gd name="connsiteX0" fmla="*/ 3435 w 10000"/>
                  <a:gd name="connsiteY0" fmla="*/ 7629 h 12831"/>
                  <a:gd name="connsiteX1" fmla="*/ 6336 w 10000"/>
                  <a:gd name="connsiteY1" fmla="*/ 11379 h 12831"/>
                  <a:gd name="connsiteX2" fmla="*/ 3893 w 10000"/>
                  <a:gd name="connsiteY2" fmla="*/ 11379 h 12831"/>
                  <a:gd name="connsiteX3" fmla="*/ 0 w 10000"/>
                  <a:gd name="connsiteY3" fmla="*/ 6275 h 12831"/>
                  <a:gd name="connsiteX4" fmla="*/ 3893 w 10000"/>
                  <a:gd name="connsiteY4" fmla="*/ 1379 h 12831"/>
                  <a:gd name="connsiteX5" fmla="*/ 6336 w 10000"/>
                  <a:gd name="connsiteY5" fmla="*/ 1379 h 12831"/>
                  <a:gd name="connsiteX6" fmla="*/ 3435 w 10000"/>
                  <a:gd name="connsiteY6" fmla="*/ 5025 h 12831"/>
                  <a:gd name="connsiteX7" fmla="*/ 10000 w 10000"/>
                  <a:gd name="connsiteY7" fmla="*/ 5025 h 12831"/>
                  <a:gd name="connsiteX8" fmla="*/ 10000 w 10000"/>
                  <a:gd name="connsiteY8" fmla="*/ 7629 h 12831"/>
                  <a:gd name="connsiteX9" fmla="*/ 3435 w 10000"/>
                  <a:gd name="connsiteY9" fmla="*/ 7629 h 12831"/>
                  <a:gd name="connsiteX0" fmla="*/ 3435 w 10000"/>
                  <a:gd name="connsiteY0" fmla="*/ 7629 h 12782"/>
                  <a:gd name="connsiteX1" fmla="*/ 6336 w 10000"/>
                  <a:gd name="connsiteY1" fmla="*/ 11379 h 12782"/>
                  <a:gd name="connsiteX2" fmla="*/ 3893 w 10000"/>
                  <a:gd name="connsiteY2" fmla="*/ 11379 h 12782"/>
                  <a:gd name="connsiteX3" fmla="*/ 0 w 10000"/>
                  <a:gd name="connsiteY3" fmla="*/ 6275 h 12782"/>
                  <a:gd name="connsiteX4" fmla="*/ 3893 w 10000"/>
                  <a:gd name="connsiteY4" fmla="*/ 1379 h 12782"/>
                  <a:gd name="connsiteX5" fmla="*/ 6336 w 10000"/>
                  <a:gd name="connsiteY5" fmla="*/ 1379 h 12782"/>
                  <a:gd name="connsiteX6" fmla="*/ 3435 w 10000"/>
                  <a:gd name="connsiteY6" fmla="*/ 5025 h 12782"/>
                  <a:gd name="connsiteX7" fmla="*/ 10000 w 10000"/>
                  <a:gd name="connsiteY7" fmla="*/ 5025 h 12782"/>
                  <a:gd name="connsiteX8" fmla="*/ 10000 w 10000"/>
                  <a:gd name="connsiteY8" fmla="*/ 7629 h 12782"/>
                  <a:gd name="connsiteX9" fmla="*/ 3435 w 10000"/>
                  <a:gd name="connsiteY9" fmla="*/ 7629 h 12782"/>
                  <a:gd name="connsiteX0" fmla="*/ 3435 w 10000"/>
                  <a:gd name="connsiteY0" fmla="*/ 7559 h 12712"/>
                  <a:gd name="connsiteX1" fmla="*/ 6336 w 10000"/>
                  <a:gd name="connsiteY1" fmla="*/ 11309 h 12712"/>
                  <a:gd name="connsiteX2" fmla="*/ 3893 w 10000"/>
                  <a:gd name="connsiteY2" fmla="*/ 11309 h 12712"/>
                  <a:gd name="connsiteX3" fmla="*/ 0 w 10000"/>
                  <a:gd name="connsiteY3" fmla="*/ 6205 h 12712"/>
                  <a:gd name="connsiteX4" fmla="*/ 3893 w 10000"/>
                  <a:gd name="connsiteY4" fmla="*/ 1309 h 12712"/>
                  <a:gd name="connsiteX5" fmla="*/ 6336 w 10000"/>
                  <a:gd name="connsiteY5" fmla="*/ 1309 h 12712"/>
                  <a:gd name="connsiteX6" fmla="*/ 3435 w 10000"/>
                  <a:gd name="connsiteY6" fmla="*/ 4955 h 12712"/>
                  <a:gd name="connsiteX7" fmla="*/ 10000 w 10000"/>
                  <a:gd name="connsiteY7" fmla="*/ 4955 h 12712"/>
                  <a:gd name="connsiteX8" fmla="*/ 10000 w 10000"/>
                  <a:gd name="connsiteY8" fmla="*/ 7559 h 12712"/>
                  <a:gd name="connsiteX9" fmla="*/ 3435 w 10000"/>
                  <a:gd name="connsiteY9" fmla="*/ 7559 h 12712"/>
                  <a:gd name="connsiteX0" fmla="*/ 3435 w 10634"/>
                  <a:gd name="connsiteY0" fmla="*/ 7559 h 12712"/>
                  <a:gd name="connsiteX1" fmla="*/ 6336 w 10634"/>
                  <a:gd name="connsiteY1" fmla="*/ 11309 h 12712"/>
                  <a:gd name="connsiteX2" fmla="*/ 3893 w 10634"/>
                  <a:gd name="connsiteY2" fmla="*/ 11309 h 12712"/>
                  <a:gd name="connsiteX3" fmla="*/ 0 w 10634"/>
                  <a:gd name="connsiteY3" fmla="*/ 6205 h 12712"/>
                  <a:gd name="connsiteX4" fmla="*/ 3893 w 10634"/>
                  <a:gd name="connsiteY4" fmla="*/ 1309 h 12712"/>
                  <a:gd name="connsiteX5" fmla="*/ 6336 w 10634"/>
                  <a:gd name="connsiteY5" fmla="*/ 1309 h 12712"/>
                  <a:gd name="connsiteX6" fmla="*/ 3435 w 10634"/>
                  <a:gd name="connsiteY6" fmla="*/ 4955 h 12712"/>
                  <a:gd name="connsiteX7" fmla="*/ 10000 w 10634"/>
                  <a:gd name="connsiteY7" fmla="*/ 4955 h 12712"/>
                  <a:gd name="connsiteX8" fmla="*/ 10000 w 10634"/>
                  <a:gd name="connsiteY8" fmla="*/ 7559 h 12712"/>
                  <a:gd name="connsiteX9" fmla="*/ 3435 w 10634"/>
                  <a:gd name="connsiteY9" fmla="*/ 7559 h 12712"/>
                  <a:gd name="connsiteX0" fmla="*/ 3435 w 11047"/>
                  <a:gd name="connsiteY0" fmla="*/ 7559 h 12712"/>
                  <a:gd name="connsiteX1" fmla="*/ 6336 w 11047"/>
                  <a:gd name="connsiteY1" fmla="*/ 11309 h 12712"/>
                  <a:gd name="connsiteX2" fmla="*/ 3893 w 11047"/>
                  <a:gd name="connsiteY2" fmla="*/ 11309 h 12712"/>
                  <a:gd name="connsiteX3" fmla="*/ 0 w 11047"/>
                  <a:gd name="connsiteY3" fmla="*/ 6205 h 12712"/>
                  <a:gd name="connsiteX4" fmla="*/ 3893 w 11047"/>
                  <a:gd name="connsiteY4" fmla="*/ 1309 h 12712"/>
                  <a:gd name="connsiteX5" fmla="*/ 6336 w 11047"/>
                  <a:gd name="connsiteY5" fmla="*/ 1309 h 12712"/>
                  <a:gd name="connsiteX6" fmla="*/ 3435 w 11047"/>
                  <a:gd name="connsiteY6" fmla="*/ 4955 h 12712"/>
                  <a:gd name="connsiteX7" fmla="*/ 10000 w 11047"/>
                  <a:gd name="connsiteY7" fmla="*/ 4955 h 12712"/>
                  <a:gd name="connsiteX8" fmla="*/ 10000 w 11047"/>
                  <a:gd name="connsiteY8" fmla="*/ 7559 h 12712"/>
                  <a:gd name="connsiteX9" fmla="*/ 3435 w 11047"/>
                  <a:gd name="connsiteY9" fmla="*/ 7559 h 12712"/>
                  <a:gd name="connsiteX0" fmla="*/ 3435 w 11047"/>
                  <a:gd name="connsiteY0" fmla="*/ 7559 h 12865"/>
                  <a:gd name="connsiteX1" fmla="*/ 6336 w 11047"/>
                  <a:gd name="connsiteY1" fmla="*/ 11309 h 12865"/>
                  <a:gd name="connsiteX2" fmla="*/ 3893 w 11047"/>
                  <a:gd name="connsiteY2" fmla="*/ 11309 h 12865"/>
                  <a:gd name="connsiteX3" fmla="*/ 0 w 11047"/>
                  <a:gd name="connsiteY3" fmla="*/ 6205 h 12865"/>
                  <a:gd name="connsiteX4" fmla="*/ 3893 w 11047"/>
                  <a:gd name="connsiteY4" fmla="*/ 1309 h 12865"/>
                  <a:gd name="connsiteX5" fmla="*/ 6336 w 11047"/>
                  <a:gd name="connsiteY5" fmla="*/ 1309 h 12865"/>
                  <a:gd name="connsiteX6" fmla="*/ 3435 w 11047"/>
                  <a:gd name="connsiteY6" fmla="*/ 4955 h 12865"/>
                  <a:gd name="connsiteX7" fmla="*/ 10000 w 11047"/>
                  <a:gd name="connsiteY7" fmla="*/ 4955 h 12865"/>
                  <a:gd name="connsiteX8" fmla="*/ 10000 w 11047"/>
                  <a:gd name="connsiteY8" fmla="*/ 7559 h 12865"/>
                  <a:gd name="connsiteX9" fmla="*/ 3435 w 11047"/>
                  <a:gd name="connsiteY9" fmla="*/ 7559 h 12865"/>
                  <a:gd name="connsiteX0" fmla="*/ 3435 w 11047"/>
                  <a:gd name="connsiteY0" fmla="*/ 7559 h 12787"/>
                  <a:gd name="connsiteX1" fmla="*/ 6336 w 11047"/>
                  <a:gd name="connsiteY1" fmla="*/ 11309 h 12787"/>
                  <a:gd name="connsiteX2" fmla="*/ 3893 w 11047"/>
                  <a:gd name="connsiteY2" fmla="*/ 11309 h 12787"/>
                  <a:gd name="connsiteX3" fmla="*/ 0 w 11047"/>
                  <a:gd name="connsiteY3" fmla="*/ 6205 h 12787"/>
                  <a:gd name="connsiteX4" fmla="*/ 3893 w 11047"/>
                  <a:gd name="connsiteY4" fmla="*/ 1309 h 12787"/>
                  <a:gd name="connsiteX5" fmla="*/ 6336 w 11047"/>
                  <a:gd name="connsiteY5" fmla="*/ 1309 h 12787"/>
                  <a:gd name="connsiteX6" fmla="*/ 3435 w 11047"/>
                  <a:gd name="connsiteY6" fmla="*/ 4955 h 12787"/>
                  <a:gd name="connsiteX7" fmla="*/ 10000 w 11047"/>
                  <a:gd name="connsiteY7" fmla="*/ 4955 h 12787"/>
                  <a:gd name="connsiteX8" fmla="*/ 10000 w 11047"/>
                  <a:gd name="connsiteY8" fmla="*/ 7559 h 12787"/>
                  <a:gd name="connsiteX9" fmla="*/ 3435 w 11047"/>
                  <a:gd name="connsiteY9" fmla="*/ 7559 h 12787"/>
                  <a:gd name="connsiteX0" fmla="*/ 3435 w 11047"/>
                  <a:gd name="connsiteY0" fmla="*/ 7665 h 12893"/>
                  <a:gd name="connsiteX1" fmla="*/ 6336 w 11047"/>
                  <a:gd name="connsiteY1" fmla="*/ 11415 h 12893"/>
                  <a:gd name="connsiteX2" fmla="*/ 3893 w 11047"/>
                  <a:gd name="connsiteY2" fmla="*/ 11415 h 12893"/>
                  <a:gd name="connsiteX3" fmla="*/ 0 w 11047"/>
                  <a:gd name="connsiteY3" fmla="*/ 6311 h 12893"/>
                  <a:gd name="connsiteX4" fmla="*/ 3893 w 11047"/>
                  <a:gd name="connsiteY4" fmla="*/ 1415 h 12893"/>
                  <a:gd name="connsiteX5" fmla="*/ 6336 w 11047"/>
                  <a:gd name="connsiteY5" fmla="*/ 1415 h 12893"/>
                  <a:gd name="connsiteX6" fmla="*/ 3435 w 11047"/>
                  <a:gd name="connsiteY6" fmla="*/ 5061 h 12893"/>
                  <a:gd name="connsiteX7" fmla="*/ 10000 w 11047"/>
                  <a:gd name="connsiteY7" fmla="*/ 5061 h 12893"/>
                  <a:gd name="connsiteX8" fmla="*/ 10000 w 11047"/>
                  <a:gd name="connsiteY8" fmla="*/ 7665 h 12893"/>
                  <a:gd name="connsiteX9" fmla="*/ 3435 w 11047"/>
                  <a:gd name="connsiteY9" fmla="*/ 7665 h 12893"/>
                  <a:gd name="connsiteX0" fmla="*/ 3435 w 11047"/>
                  <a:gd name="connsiteY0" fmla="*/ 7665 h 12998"/>
                  <a:gd name="connsiteX1" fmla="*/ 6336 w 11047"/>
                  <a:gd name="connsiteY1" fmla="*/ 11415 h 12998"/>
                  <a:gd name="connsiteX2" fmla="*/ 3893 w 11047"/>
                  <a:gd name="connsiteY2" fmla="*/ 11415 h 12998"/>
                  <a:gd name="connsiteX3" fmla="*/ 0 w 11047"/>
                  <a:gd name="connsiteY3" fmla="*/ 6311 h 12998"/>
                  <a:gd name="connsiteX4" fmla="*/ 3893 w 11047"/>
                  <a:gd name="connsiteY4" fmla="*/ 1415 h 12998"/>
                  <a:gd name="connsiteX5" fmla="*/ 6336 w 11047"/>
                  <a:gd name="connsiteY5" fmla="*/ 1415 h 12998"/>
                  <a:gd name="connsiteX6" fmla="*/ 3435 w 11047"/>
                  <a:gd name="connsiteY6" fmla="*/ 5061 h 12998"/>
                  <a:gd name="connsiteX7" fmla="*/ 10000 w 11047"/>
                  <a:gd name="connsiteY7" fmla="*/ 5061 h 12998"/>
                  <a:gd name="connsiteX8" fmla="*/ 10000 w 11047"/>
                  <a:gd name="connsiteY8" fmla="*/ 7665 h 12998"/>
                  <a:gd name="connsiteX9" fmla="*/ 3435 w 11047"/>
                  <a:gd name="connsiteY9" fmla="*/ 7665 h 12998"/>
                  <a:gd name="connsiteX0" fmla="*/ 3435 w 11047"/>
                  <a:gd name="connsiteY0" fmla="*/ 7632 h 12965"/>
                  <a:gd name="connsiteX1" fmla="*/ 6336 w 11047"/>
                  <a:gd name="connsiteY1" fmla="*/ 11382 h 12965"/>
                  <a:gd name="connsiteX2" fmla="*/ 3893 w 11047"/>
                  <a:gd name="connsiteY2" fmla="*/ 11382 h 12965"/>
                  <a:gd name="connsiteX3" fmla="*/ 0 w 11047"/>
                  <a:gd name="connsiteY3" fmla="*/ 6278 h 12965"/>
                  <a:gd name="connsiteX4" fmla="*/ 3893 w 11047"/>
                  <a:gd name="connsiteY4" fmla="*/ 1382 h 12965"/>
                  <a:gd name="connsiteX5" fmla="*/ 6336 w 11047"/>
                  <a:gd name="connsiteY5" fmla="*/ 1382 h 12965"/>
                  <a:gd name="connsiteX6" fmla="*/ 3435 w 11047"/>
                  <a:gd name="connsiteY6" fmla="*/ 5028 h 12965"/>
                  <a:gd name="connsiteX7" fmla="*/ 10000 w 11047"/>
                  <a:gd name="connsiteY7" fmla="*/ 5028 h 12965"/>
                  <a:gd name="connsiteX8" fmla="*/ 10000 w 11047"/>
                  <a:gd name="connsiteY8" fmla="*/ 7632 h 12965"/>
                  <a:gd name="connsiteX9" fmla="*/ 3435 w 11047"/>
                  <a:gd name="connsiteY9" fmla="*/ 7632 h 12965"/>
                  <a:gd name="connsiteX0" fmla="*/ 3435 w 11047"/>
                  <a:gd name="connsiteY0" fmla="*/ 7632 h 12965"/>
                  <a:gd name="connsiteX1" fmla="*/ 6336 w 11047"/>
                  <a:gd name="connsiteY1" fmla="*/ 11382 h 12965"/>
                  <a:gd name="connsiteX2" fmla="*/ 3893 w 11047"/>
                  <a:gd name="connsiteY2" fmla="*/ 11382 h 12965"/>
                  <a:gd name="connsiteX3" fmla="*/ 0 w 11047"/>
                  <a:gd name="connsiteY3" fmla="*/ 6278 h 12965"/>
                  <a:gd name="connsiteX4" fmla="*/ 3893 w 11047"/>
                  <a:gd name="connsiteY4" fmla="*/ 1382 h 12965"/>
                  <a:gd name="connsiteX5" fmla="*/ 6336 w 11047"/>
                  <a:gd name="connsiteY5" fmla="*/ 1382 h 12965"/>
                  <a:gd name="connsiteX6" fmla="*/ 3435 w 11047"/>
                  <a:gd name="connsiteY6" fmla="*/ 5028 h 12965"/>
                  <a:gd name="connsiteX7" fmla="*/ 10000 w 11047"/>
                  <a:gd name="connsiteY7" fmla="*/ 5028 h 12965"/>
                  <a:gd name="connsiteX8" fmla="*/ 10000 w 11047"/>
                  <a:gd name="connsiteY8" fmla="*/ 7632 h 12965"/>
                  <a:gd name="connsiteX9" fmla="*/ 3435 w 11047"/>
                  <a:gd name="connsiteY9" fmla="*/ 7632 h 12965"/>
                  <a:gd name="connsiteX0" fmla="*/ 3435 w 11047"/>
                  <a:gd name="connsiteY0" fmla="*/ 7693 h 13026"/>
                  <a:gd name="connsiteX1" fmla="*/ 6336 w 11047"/>
                  <a:gd name="connsiteY1" fmla="*/ 11443 h 13026"/>
                  <a:gd name="connsiteX2" fmla="*/ 3893 w 11047"/>
                  <a:gd name="connsiteY2" fmla="*/ 11443 h 13026"/>
                  <a:gd name="connsiteX3" fmla="*/ 0 w 11047"/>
                  <a:gd name="connsiteY3" fmla="*/ 6339 h 13026"/>
                  <a:gd name="connsiteX4" fmla="*/ 3893 w 11047"/>
                  <a:gd name="connsiteY4" fmla="*/ 1443 h 13026"/>
                  <a:gd name="connsiteX5" fmla="*/ 6336 w 11047"/>
                  <a:gd name="connsiteY5" fmla="*/ 1443 h 13026"/>
                  <a:gd name="connsiteX6" fmla="*/ 3435 w 11047"/>
                  <a:gd name="connsiteY6" fmla="*/ 5089 h 13026"/>
                  <a:gd name="connsiteX7" fmla="*/ 10000 w 11047"/>
                  <a:gd name="connsiteY7" fmla="*/ 5089 h 13026"/>
                  <a:gd name="connsiteX8" fmla="*/ 10000 w 11047"/>
                  <a:gd name="connsiteY8" fmla="*/ 7693 h 13026"/>
                  <a:gd name="connsiteX9" fmla="*/ 3435 w 11047"/>
                  <a:gd name="connsiteY9" fmla="*/ 7693 h 13026"/>
                  <a:gd name="connsiteX0" fmla="*/ 3435 w 11047"/>
                  <a:gd name="connsiteY0" fmla="*/ 7693 h 12880"/>
                  <a:gd name="connsiteX1" fmla="*/ 6336 w 11047"/>
                  <a:gd name="connsiteY1" fmla="*/ 11443 h 12880"/>
                  <a:gd name="connsiteX2" fmla="*/ 3893 w 11047"/>
                  <a:gd name="connsiteY2" fmla="*/ 11443 h 12880"/>
                  <a:gd name="connsiteX3" fmla="*/ 0 w 11047"/>
                  <a:gd name="connsiteY3" fmla="*/ 6339 h 12880"/>
                  <a:gd name="connsiteX4" fmla="*/ 3893 w 11047"/>
                  <a:gd name="connsiteY4" fmla="*/ 1443 h 12880"/>
                  <a:gd name="connsiteX5" fmla="*/ 6336 w 11047"/>
                  <a:gd name="connsiteY5" fmla="*/ 1443 h 12880"/>
                  <a:gd name="connsiteX6" fmla="*/ 3435 w 11047"/>
                  <a:gd name="connsiteY6" fmla="*/ 5089 h 12880"/>
                  <a:gd name="connsiteX7" fmla="*/ 10000 w 11047"/>
                  <a:gd name="connsiteY7" fmla="*/ 5089 h 12880"/>
                  <a:gd name="connsiteX8" fmla="*/ 10000 w 11047"/>
                  <a:gd name="connsiteY8" fmla="*/ 7693 h 12880"/>
                  <a:gd name="connsiteX9" fmla="*/ 3435 w 11047"/>
                  <a:gd name="connsiteY9" fmla="*/ 7693 h 128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047" h="12880">
                    <a:moveTo>
                      <a:pt x="3435" y="7693"/>
                    </a:moveTo>
                    <a:lnTo>
                      <a:pt x="6336" y="11443"/>
                    </a:lnTo>
                    <a:cubicBezTo>
                      <a:pt x="6466" y="13714"/>
                      <a:pt x="4769" y="12969"/>
                      <a:pt x="3893" y="11443"/>
                    </a:cubicBezTo>
                    <a:lnTo>
                      <a:pt x="0" y="6339"/>
                    </a:lnTo>
                    <a:lnTo>
                      <a:pt x="3893" y="1443"/>
                    </a:lnTo>
                    <a:cubicBezTo>
                      <a:pt x="5017" y="2"/>
                      <a:pt x="6193" y="-913"/>
                      <a:pt x="6336" y="1443"/>
                    </a:cubicBezTo>
                    <a:lnTo>
                      <a:pt x="3435" y="5089"/>
                    </a:lnTo>
                    <a:lnTo>
                      <a:pt x="10000" y="5089"/>
                    </a:lnTo>
                    <a:cubicBezTo>
                      <a:pt x="11366" y="5110"/>
                      <a:pt x="11428" y="7588"/>
                      <a:pt x="10000" y="7693"/>
                    </a:cubicBezTo>
                    <a:lnTo>
                      <a:pt x="3435" y="769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</a:endParaRPr>
              </a:p>
            </p:txBody>
          </p:sp>
          <p:grpSp>
            <p:nvGrpSpPr>
              <p:cNvPr id="86" name="Group 85"/>
              <p:cNvGrpSpPr/>
              <p:nvPr/>
            </p:nvGrpSpPr>
            <p:grpSpPr>
              <a:xfrm>
                <a:off x="11572464" y="5361400"/>
                <a:ext cx="12532" cy="12558"/>
                <a:chOff x="6479604" y="3057276"/>
                <a:chExt cx="1239360" cy="1241957"/>
              </a:xfrm>
            </p:grpSpPr>
            <p:sp>
              <p:nvSpPr>
                <p:cNvPr id="88" name="Rectangle 240"/>
                <p:cNvSpPr>
                  <a:spLocks noChangeArrowheads="1"/>
                </p:cNvSpPr>
                <p:nvPr/>
              </p:nvSpPr>
              <p:spPr bwMode="auto">
                <a:xfrm>
                  <a:off x="6479604" y="3057276"/>
                  <a:ext cx="562492" cy="566928"/>
                </a:xfrm>
                <a:prstGeom prst="rect">
                  <a:avLst/>
                </a:prstGeom>
                <a:solidFill>
                  <a:sysClr val="window" lastClr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F3F3F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89" name="Rectangle 242"/>
                <p:cNvSpPr>
                  <a:spLocks noChangeArrowheads="1"/>
                </p:cNvSpPr>
                <p:nvPr/>
              </p:nvSpPr>
              <p:spPr bwMode="auto">
                <a:xfrm>
                  <a:off x="6479604" y="3732305"/>
                  <a:ext cx="562492" cy="566928"/>
                </a:xfrm>
                <a:prstGeom prst="rect">
                  <a:avLst/>
                </a:prstGeom>
                <a:solidFill>
                  <a:sysClr val="window" lastClr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F3F3F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90" name="Rectangle 240"/>
                <p:cNvSpPr>
                  <a:spLocks noChangeArrowheads="1"/>
                </p:cNvSpPr>
                <p:nvPr/>
              </p:nvSpPr>
              <p:spPr bwMode="auto">
                <a:xfrm>
                  <a:off x="7156472" y="3057276"/>
                  <a:ext cx="562492" cy="566928"/>
                </a:xfrm>
                <a:prstGeom prst="rect">
                  <a:avLst/>
                </a:prstGeom>
                <a:solidFill>
                  <a:sysClr val="window" lastClr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F3F3F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91" name="Rectangle 242"/>
                <p:cNvSpPr>
                  <a:spLocks noChangeArrowheads="1"/>
                </p:cNvSpPr>
                <p:nvPr/>
              </p:nvSpPr>
              <p:spPr bwMode="auto">
                <a:xfrm>
                  <a:off x="7156472" y="3732305"/>
                  <a:ext cx="562492" cy="566928"/>
                </a:xfrm>
                <a:prstGeom prst="rect">
                  <a:avLst/>
                </a:prstGeom>
                <a:solidFill>
                  <a:sysClr val="window" lastClr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F3F3F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87" name="Rectangle 250"/>
              <p:cNvSpPr>
                <a:spLocks noChangeArrowheads="1"/>
              </p:cNvSpPr>
              <p:nvPr/>
            </p:nvSpPr>
            <p:spPr bwMode="auto">
              <a:xfrm>
                <a:off x="11639433" y="5114539"/>
                <a:ext cx="3991" cy="1238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101" name="Freeform 29"/>
          <p:cNvSpPr>
            <a:spLocks/>
          </p:cNvSpPr>
          <p:nvPr/>
        </p:nvSpPr>
        <p:spPr bwMode="auto">
          <a:xfrm>
            <a:off x="10249528" y="4993172"/>
            <a:ext cx="57439" cy="399463"/>
          </a:xfrm>
          <a:custGeom>
            <a:avLst/>
            <a:gdLst>
              <a:gd name="T0" fmla="*/ 17 w 22"/>
              <a:gd name="T1" fmla="*/ 12 h 153"/>
              <a:gd name="T2" fmla="*/ 22 w 22"/>
              <a:gd name="T3" fmla="*/ 9 h 153"/>
              <a:gd name="T4" fmla="*/ 11 w 22"/>
              <a:gd name="T5" fmla="*/ 0 h 153"/>
              <a:gd name="T6" fmla="*/ 0 w 22"/>
              <a:gd name="T7" fmla="*/ 9 h 153"/>
              <a:gd name="T8" fmla="*/ 5 w 22"/>
              <a:gd name="T9" fmla="*/ 12 h 153"/>
              <a:gd name="T10" fmla="*/ 5 w 22"/>
              <a:gd name="T11" fmla="*/ 141 h 153"/>
              <a:gd name="T12" fmla="*/ 11 w 22"/>
              <a:gd name="T13" fmla="*/ 153 h 153"/>
              <a:gd name="T14" fmla="*/ 17 w 22"/>
              <a:gd name="T15" fmla="*/ 141 h 153"/>
              <a:gd name="T16" fmla="*/ 17 w 22"/>
              <a:gd name="T17" fmla="*/ 12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2" h="153">
                <a:moveTo>
                  <a:pt x="17" y="12"/>
                </a:moveTo>
                <a:lnTo>
                  <a:pt x="22" y="9"/>
                </a:lnTo>
                <a:lnTo>
                  <a:pt x="11" y="0"/>
                </a:lnTo>
                <a:lnTo>
                  <a:pt x="0" y="9"/>
                </a:lnTo>
                <a:lnTo>
                  <a:pt x="5" y="12"/>
                </a:lnTo>
                <a:lnTo>
                  <a:pt x="5" y="141"/>
                </a:lnTo>
                <a:lnTo>
                  <a:pt x="11" y="153"/>
                </a:lnTo>
                <a:lnTo>
                  <a:pt x="17" y="141"/>
                </a:lnTo>
                <a:lnTo>
                  <a:pt x="17" y="12"/>
                </a:lnTo>
                <a:close/>
              </a:path>
            </a:pathLst>
          </a:custGeom>
          <a:solidFill>
            <a:srgbClr val="68217A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102" name="Group 101"/>
          <p:cNvGrpSpPr/>
          <p:nvPr/>
        </p:nvGrpSpPr>
        <p:grpSpPr>
          <a:xfrm>
            <a:off x="9989738" y="4682478"/>
            <a:ext cx="579609" cy="1568694"/>
            <a:chOff x="9154146" y="4395069"/>
            <a:chExt cx="579609" cy="1568694"/>
          </a:xfrm>
        </p:grpSpPr>
        <p:sp>
          <p:nvSpPr>
            <p:cNvPr id="103" name="Freeform 34"/>
            <p:cNvSpPr>
              <a:spLocks/>
            </p:cNvSpPr>
            <p:nvPr/>
          </p:nvSpPr>
          <p:spPr bwMode="auto">
            <a:xfrm>
              <a:off x="9655722" y="5264472"/>
              <a:ext cx="65272" cy="73104"/>
            </a:xfrm>
            <a:custGeom>
              <a:avLst/>
              <a:gdLst>
                <a:gd name="T0" fmla="*/ 0 w 110"/>
                <a:gd name="T1" fmla="*/ 0 h 121"/>
                <a:gd name="T2" fmla="*/ 0 w 110"/>
                <a:gd name="T3" fmla="*/ 66 h 121"/>
                <a:gd name="T4" fmla="*/ 55 w 110"/>
                <a:gd name="T5" fmla="*/ 121 h 121"/>
                <a:gd name="T6" fmla="*/ 110 w 110"/>
                <a:gd name="T7" fmla="*/ 66 h 121"/>
                <a:gd name="T8" fmla="*/ 110 w 110"/>
                <a:gd name="T9" fmla="*/ 0 h 121"/>
                <a:gd name="T10" fmla="*/ 0 w 110"/>
                <a:gd name="T11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0" h="121">
                  <a:moveTo>
                    <a:pt x="0" y="0"/>
                  </a:moveTo>
                  <a:lnTo>
                    <a:pt x="0" y="66"/>
                  </a:lnTo>
                  <a:cubicBezTo>
                    <a:pt x="0" y="96"/>
                    <a:pt x="25" y="121"/>
                    <a:pt x="55" y="121"/>
                  </a:cubicBezTo>
                  <a:cubicBezTo>
                    <a:pt x="85" y="121"/>
                    <a:pt x="110" y="96"/>
                    <a:pt x="110" y="66"/>
                  </a:cubicBezTo>
                  <a:lnTo>
                    <a:pt x="11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B9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4" name="Freeform 26"/>
            <p:cNvSpPr>
              <a:spLocks/>
            </p:cNvSpPr>
            <p:nvPr/>
          </p:nvSpPr>
          <p:spPr bwMode="auto">
            <a:xfrm>
              <a:off x="9353885" y="4421178"/>
              <a:ext cx="195815" cy="237589"/>
            </a:xfrm>
            <a:custGeom>
              <a:avLst/>
              <a:gdLst>
                <a:gd name="T0" fmla="*/ 299 w 331"/>
                <a:gd name="T1" fmla="*/ 227 h 402"/>
                <a:gd name="T2" fmla="*/ 117 w 331"/>
                <a:gd name="T3" fmla="*/ 376 h 402"/>
                <a:gd name="T4" fmla="*/ 32 w 331"/>
                <a:gd name="T5" fmla="*/ 154 h 402"/>
                <a:gd name="T6" fmla="*/ 232 w 331"/>
                <a:gd name="T7" fmla="*/ 26 h 402"/>
                <a:gd name="T8" fmla="*/ 299 w 331"/>
                <a:gd name="T9" fmla="*/ 227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1" h="402">
                  <a:moveTo>
                    <a:pt x="299" y="227"/>
                  </a:moveTo>
                  <a:cubicBezTo>
                    <a:pt x="267" y="324"/>
                    <a:pt x="196" y="402"/>
                    <a:pt x="117" y="376"/>
                  </a:cubicBezTo>
                  <a:cubicBezTo>
                    <a:pt x="38" y="350"/>
                    <a:pt x="0" y="250"/>
                    <a:pt x="32" y="154"/>
                  </a:cubicBezTo>
                  <a:cubicBezTo>
                    <a:pt x="63" y="57"/>
                    <a:pt x="153" y="0"/>
                    <a:pt x="232" y="26"/>
                  </a:cubicBezTo>
                  <a:cubicBezTo>
                    <a:pt x="311" y="52"/>
                    <a:pt x="331" y="131"/>
                    <a:pt x="299" y="227"/>
                  </a:cubicBezTo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5" name="Freeform 27"/>
            <p:cNvSpPr>
              <a:spLocks/>
            </p:cNvSpPr>
            <p:nvPr/>
          </p:nvSpPr>
          <p:spPr bwMode="auto">
            <a:xfrm>
              <a:off x="9327777" y="4395069"/>
              <a:ext cx="195815" cy="221924"/>
            </a:xfrm>
            <a:custGeom>
              <a:avLst/>
              <a:gdLst>
                <a:gd name="T0" fmla="*/ 281 w 330"/>
                <a:gd name="T1" fmla="*/ 119 h 374"/>
                <a:gd name="T2" fmla="*/ 253 w 330"/>
                <a:gd name="T3" fmla="*/ 336 h 374"/>
                <a:gd name="T4" fmla="*/ 48 w 330"/>
                <a:gd name="T5" fmla="*/ 256 h 374"/>
                <a:gd name="T6" fmla="*/ 77 w 330"/>
                <a:gd name="T7" fmla="*/ 38 h 374"/>
                <a:gd name="T8" fmla="*/ 281 w 330"/>
                <a:gd name="T9" fmla="*/ 119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0" h="374">
                  <a:moveTo>
                    <a:pt x="281" y="119"/>
                  </a:moveTo>
                  <a:cubicBezTo>
                    <a:pt x="330" y="201"/>
                    <a:pt x="317" y="299"/>
                    <a:pt x="253" y="336"/>
                  </a:cubicBezTo>
                  <a:cubicBezTo>
                    <a:pt x="188" y="374"/>
                    <a:pt x="97" y="338"/>
                    <a:pt x="48" y="256"/>
                  </a:cubicBezTo>
                  <a:cubicBezTo>
                    <a:pt x="0" y="173"/>
                    <a:pt x="13" y="76"/>
                    <a:pt x="77" y="38"/>
                  </a:cubicBezTo>
                  <a:cubicBezTo>
                    <a:pt x="142" y="0"/>
                    <a:pt x="233" y="36"/>
                    <a:pt x="281" y="119"/>
                  </a:cubicBezTo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6" name="Freeform 28"/>
            <p:cNvSpPr>
              <a:spLocks/>
            </p:cNvSpPr>
            <p:nvPr/>
          </p:nvSpPr>
          <p:spPr bwMode="auto">
            <a:xfrm>
              <a:off x="9393049" y="4601328"/>
              <a:ext cx="99213" cy="107046"/>
            </a:xfrm>
            <a:custGeom>
              <a:avLst/>
              <a:gdLst>
                <a:gd name="T0" fmla="*/ 38 w 38"/>
                <a:gd name="T1" fmla="*/ 31 h 41"/>
                <a:gd name="T2" fmla="*/ 19 w 38"/>
                <a:gd name="T3" fmla="*/ 41 h 41"/>
                <a:gd name="T4" fmla="*/ 0 w 38"/>
                <a:gd name="T5" fmla="*/ 31 h 41"/>
                <a:gd name="T6" fmla="*/ 0 w 38"/>
                <a:gd name="T7" fmla="*/ 0 h 41"/>
                <a:gd name="T8" fmla="*/ 38 w 38"/>
                <a:gd name="T9" fmla="*/ 0 h 41"/>
                <a:gd name="T10" fmla="*/ 38 w 38"/>
                <a:gd name="T11" fmla="*/ 3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" h="41">
                  <a:moveTo>
                    <a:pt x="38" y="31"/>
                  </a:moveTo>
                  <a:lnTo>
                    <a:pt x="19" y="41"/>
                  </a:lnTo>
                  <a:lnTo>
                    <a:pt x="0" y="31"/>
                  </a:lnTo>
                  <a:lnTo>
                    <a:pt x="0" y="0"/>
                  </a:lnTo>
                  <a:lnTo>
                    <a:pt x="38" y="0"/>
                  </a:lnTo>
                  <a:lnTo>
                    <a:pt x="38" y="31"/>
                  </a:lnTo>
                  <a:close/>
                </a:path>
              </a:pathLst>
            </a:custGeom>
            <a:solidFill>
              <a:srgbClr val="FFB9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7" name="Freeform 32"/>
            <p:cNvSpPr>
              <a:spLocks/>
            </p:cNvSpPr>
            <p:nvPr/>
          </p:nvSpPr>
          <p:spPr bwMode="auto">
            <a:xfrm>
              <a:off x="9309501" y="5321926"/>
              <a:ext cx="130543" cy="587445"/>
            </a:xfrm>
            <a:custGeom>
              <a:avLst/>
              <a:gdLst>
                <a:gd name="T0" fmla="*/ 41 w 50"/>
                <a:gd name="T1" fmla="*/ 225 h 225"/>
                <a:gd name="T2" fmla="*/ 6 w 50"/>
                <a:gd name="T3" fmla="*/ 225 h 225"/>
                <a:gd name="T4" fmla="*/ 0 w 50"/>
                <a:gd name="T5" fmla="*/ 0 h 225"/>
                <a:gd name="T6" fmla="*/ 50 w 50"/>
                <a:gd name="T7" fmla="*/ 0 h 225"/>
                <a:gd name="T8" fmla="*/ 41 w 50"/>
                <a:gd name="T9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25">
                  <a:moveTo>
                    <a:pt x="41" y="225"/>
                  </a:moveTo>
                  <a:lnTo>
                    <a:pt x="6" y="225"/>
                  </a:lnTo>
                  <a:lnTo>
                    <a:pt x="0" y="0"/>
                  </a:lnTo>
                  <a:lnTo>
                    <a:pt x="50" y="0"/>
                  </a:lnTo>
                  <a:lnTo>
                    <a:pt x="41" y="225"/>
                  </a:lnTo>
                  <a:close/>
                </a:path>
              </a:pathLst>
            </a:custGeom>
            <a:solidFill>
              <a:srgbClr val="0072C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8" name="Freeform 33"/>
            <p:cNvSpPr>
              <a:spLocks/>
            </p:cNvSpPr>
            <p:nvPr/>
          </p:nvSpPr>
          <p:spPr bwMode="auto">
            <a:xfrm>
              <a:off x="9445267" y="5321926"/>
              <a:ext cx="127933" cy="587445"/>
            </a:xfrm>
            <a:custGeom>
              <a:avLst/>
              <a:gdLst>
                <a:gd name="T0" fmla="*/ 43 w 49"/>
                <a:gd name="T1" fmla="*/ 225 h 225"/>
                <a:gd name="T2" fmla="*/ 8 w 49"/>
                <a:gd name="T3" fmla="*/ 225 h 225"/>
                <a:gd name="T4" fmla="*/ 0 w 49"/>
                <a:gd name="T5" fmla="*/ 0 h 225"/>
                <a:gd name="T6" fmla="*/ 49 w 49"/>
                <a:gd name="T7" fmla="*/ 0 h 225"/>
                <a:gd name="T8" fmla="*/ 43 w 49"/>
                <a:gd name="T9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25">
                  <a:moveTo>
                    <a:pt x="43" y="225"/>
                  </a:moveTo>
                  <a:lnTo>
                    <a:pt x="8" y="225"/>
                  </a:lnTo>
                  <a:lnTo>
                    <a:pt x="0" y="0"/>
                  </a:lnTo>
                  <a:lnTo>
                    <a:pt x="49" y="0"/>
                  </a:lnTo>
                  <a:lnTo>
                    <a:pt x="43" y="225"/>
                  </a:lnTo>
                  <a:close/>
                </a:path>
              </a:pathLst>
            </a:custGeom>
            <a:solidFill>
              <a:srgbClr val="0072C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9" name="Freeform 34"/>
            <p:cNvSpPr>
              <a:spLocks/>
            </p:cNvSpPr>
            <p:nvPr/>
          </p:nvSpPr>
          <p:spPr bwMode="auto">
            <a:xfrm>
              <a:off x="9163293" y="5269709"/>
              <a:ext cx="65272" cy="73104"/>
            </a:xfrm>
            <a:custGeom>
              <a:avLst/>
              <a:gdLst>
                <a:gd name="T0" fmla="*/ 0 w 110"/>
                <a:gd name="T1" fmla="*/ 0 h 121"/>
                <a:gd name="T2" fmla="*/ 0 w 110"/>
                <a:gd name="T3" fmla="*/ 66 h 121"/>
                <a:gd name="T4" fmla="*/ 55 w 110"/>
                <a:gd name="T5" fmla="*/ 121 h 121"/>
                <a:gd name="T6" fmla="*/ 110 w 110"/>
                <a:gd name="T7" fmla="*/ 66 h 121"/>
                <a:gd name="T8" fmla="*/ 110 w 110"/>
                <a:gd name="T9" fmla="*/ 0 h 121"/>
                <a:gd name="T10" fmla="*/ 0 w 110"/>
                <a:gd name="T11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0" h="121">
                  <a:moveTo>
                    <a:pt x="0" y="0"/>
                  </a:moveTo>
                  <a:lnTo>
                    <a:pt x="0" y="66"/>
                  </a:lnTo>
                  <a:cubicBezTo>
                    <a:pt x="0" y="96"/>
                    <a:pt x="25" y="121"/>
                    <a:pt x="55" y="121"/>
                  </a:cubicBezTo>
                  <a:cubicBezTo>
                    <a:pt x="85" y="121"/>
                    <a:pt x="110" y="96"/>
                    <a:pt x="110" y="66"/>
                  </a:cubicBezTo>
                  <a:lnTo>
                    <a:pt x="11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B9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0" name="Freeform 37"/>
            <p:cNvSpPr>
              <a:spLocks/>
            </p:cNvSpPr>
            <p:nvPr/>
          </p:nvSpPr>
          <p:spPr bwMode="auto">
            <a:xfrm>
              <a:off x="9523592" y="4499504"/>
              <a:ext cx="2612" cy="0"/>
            </a:xfrm>
            <a:custGeom>
              <a:avLst/>
              <a:gdLst>
                <a:gd name="T0" fmla="*/ 1 w 1"/>
                <a:gd name="T1" fmla="*/ 3 h 3"/>
                <a:gd name="T2" fmla="*/ 0 w 1"/>
                <a:gd name="T3" fmla="*/ 0 h 3"/>
                <a:gd name="T4" fmla="*/ 1 w 1"/>
                <a:gd name="T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3">
                  <a:moveTo>
                    <a:pt x="1" y="3"/>
                  </a:moveTo>
                  <a:cubicBezTo>
                    <a:pt x="1" y="2"/>
                    <a:pt x="0" y="1"/>
                    <a:pt x="0" y="0"/>
                  </a:cubicBezTo>
                  <a:cubicBezTo>
                    <a:pt x="0" y="1"/>
                    <a:pt x="1" y="2"/>
                    <a:pt x="1" y="3"/>
                  </a:cubicBezTo>
                </a:path>
              </a:pathLst>
            </a:custGeom>
            <a:solidFill>
              <a:srgbClr val="FFD60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1" name="Freeform 38"/>
            <p:cNvSpPr>
              <a:spLocks/>
            </p:cNvSpPr>
            <p:nvPr/>
          </p:nvSpPr>
          <p:spPr bwMode="auto">
            <a:xfrm>
              <a:off x="9523592" y="4496894"/>
              <a:ext cx="0" cy="0"/>
            </a:xfrm>
            <a:custGeom>
              <a:avLst/>
              <a:gdLst>
                <a:gd name="T0" fmla="*/ 2 h 2"/>
                <a:gd name="T1" fmla="*/ 0 h 2"/>
                <a:gd name="T2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cubicBezTo>
                    <a:pt x="0" y="1"/>
                    <a:pt x="0" y="0"/>
                    <a:pt x="0" y="0"/>
                  </a:cubicBezTo>
                  <a:cubicBezTo>
                    <a:pt x="0" y="0"/>
                    <a:pt x="0" y="1"/>
                    <a:pt x="0" y="2"/>
                  </a:cubicBezTo>
                </a:path>
              </a:pathLst>
            </a:custGeom>
            <a:solidFill>
              <a:srgbClr val="FFD60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2" name="Freeform 39"/>
            <p:cNvSpPr>
              <a:spLocks/>
            </p:cNvSpPr>
            <p:nvPr/>
          </p:nvSpPr>
          <p:spPr bwMode="auto">
            <a:xfrm>
              <a:off x="9520981" y="4489060"/>
              <a:ext cx="0" cy="0"/>
            </a:xfrm>
            <a:custGeom>
              <a:avLst/>
              <a:gdLst>
                <a:gd name="T0" fmla="*/ 1 w 1"/>
                <a:gd name="T1" fmla="*/ 1 h 1"/>
                <a:gd name="T2" fmla="*/ 0 w 1"/>
                <a:gd name="T3" fmla="*/ 0 h 1"/>
                <a:gd name="T4" fmla="*/ 1 w 1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1" y="0"/>
                    <a:pt x="1" y="0"/>
                    <a:pt x="0" y="0"/>
                  </a:cubicBezTo>
                  <a:cubicBezTo>
                    <a:pt x="1" y="0"/>
                    <a:pt x="1" y="0"/>
                    <a:pt x="1" y="1"/>
                  </a:cubicBezTo>
                </a:path>
              </a:pathLst>
            </a:custGeom>
            <a:solidFill>
              <a:srgbClr val="FFD60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3" name="Freeform 40"/>
            <p:cNvSpPr>
              <a:spLocks/>
            </p:cNvSpPr>
            <p:nvPr/>
          </p:nvSpPr>
          <p:spPr bwMode="auto">
            <a:xfrm>
              <a:off x="9520981" y="4491673"/>
              <a:ext cx="2612" cy="0"/>
            </a:xfrm>
            <a:custGeom>
              <a:avLst/>
              <a:gdLst>
                <a:gd name="T0" fmla="*/ 1 w 1"/>
                <a:gd name="T1" fmla="*/ 1 h 1"/>
                <a:gd name="T2" fmla="*/ 0 w 1"/>
                <a:gd name="T3" fmla="*/ 0 h 1"/>
                <a:gd name="T4" fmla="*/ 1 w 1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1" y="1"/>
                  </a:cubicBezTo>
                </a:path>
              </a:pathLst>
            </a:custGeom>
            <a:solidFill>
              <a:srgbClr val="FFD60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" name="Freeform 41"/>
            <p:cNvSpPr>
              <a:spLocks/>
            </p:cNvSpPr>
            <p:nvPr/>
          </p:nvSpPr>
          <p:spPr bwMode="auto">
            <a:xfrm>
              <a:off x="9361719" y="4489060"/>
              <a:ext cx="0" cy="0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1" y="0"/>
                    <a:pt x="1" y="0"/>
                  </a:cubicBezTo>
                </a:path>
              </a:pathLst>
            </a:custGeom>
            <a:solidFill>
              <a:srgbClr val="FFD60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" name="Freeform 42"/>
            <p:cNvSpPr>
              <a:spLocks/>
            </p:cNvSpPr>
            <p:nvPr/>
          </p:nvSpPr>
          <p:spPr bwMode="auto">
            <a:xfrm>
              <a:off x="9526202" y="4502115"/>
              <a:ext cx="0" cy="2612"/>
            </a:xfrm>
            <a:custGeom>
              <a:avLst/>
              <a:gdLst>
                <a:gd name="T0" fmla="*/ 1 w 1"/>
                <a:gd name="T1" fmla="*/ 3 h 3"/>
                <a:gd name="T2" fmla="*/ 0 w 1"/>
                <a:gd name="T3" fmla="*/ 0 h 3"/>
                <a:gd name="T4" fmla="*/ 1 w 1"/>
                <a:gd name="T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3">
                  <a:moveTo>
                    <a:pt x="1" y="3"/>
                  </a:moveTo>
                  <a:cubicBezTo>
                    <a:pt x="1" y="2"/>
                    <a:pt x="1" y="1"/>
                    <a:pt x="0" y="0"/>
                  </a:cubicBezTo>
                  <a:cubicBezTo>
                    <a:pt x="1" y="1"/>
                    <a:pt x="1" y="2"/>
                    <a:pt x="1" y="3"/>
                  </a:cubicBezTo>
                </a:path>
              </a:pathLst>
            </a:custGeom>
            <a:solidFill>
              <a:srgbClr val="FFD60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" name="Freeform 43"/>
            <p:cNvSpPr>
              <a:spLocks/>
            </p:cNvSpPr>
            <p:nvPr/>
          </p:nvSpPr>
          <p:spPr bwMode="auto">
            <a:xfrm>
              <a:off x="9526202" y="4504725"/>
              <a:ext cx="0" cy="5221"/>
            </a:xfrm>
            <a:custGeom>
              <a:avLst/>
              <a:gdLst>
                <a:gd name="T0" fmla="*/ 1 w 1"/>
                <a:gd name="T1" fmla="*/ 6 h 6"/>
                <a:gd name="T2" fmla="*/ 0 w 1"/>
                <a:gd name="T3" fmla="*/ 0 h 6"/>
                <a:gd name="T4" fmla="*/ 1 w 1"/>
                <a:gd name="T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6">
                  <a:moveTo>
                    <a:pt x="1" y="6"/>
                  </a:moveTo>
                  <a:cubicBezTo>
                    <a:pt x="1" y="4"/>
                    <a:pt x="1" y="2"/>
                    <a:pt x="0" y="0"/>
                  </a:cubicBezTo>
                  <a:cubicBezTo>
                    <a:pt x="1" y="2"/>
                    <a:pt x="1" y="4"/>
                    <a:pt x="1" y="6"/>
                  </a:cubicBezTo>
                </a:path>
              </a:pathLst>
            </a:custGeom>
            <a:solidFill>
              <a:srgbClr val="FFD60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" name="Freeform 44"/>
            <p:cNvSpPr>
              <a:spLocks/>
            </p:cNvSpPr>
            <p:nvPr/>
          </p:nvSpPr>
          <p:spPr bwMode="auto">
            <a:xfrm>
              <a:off x="9518371" y="4486450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D60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" name="Freeform 45"/>
            <p:cNvSpPr>
              <a:spLocks/>
            </p:cNvSpPr>
            <p:nvPr/>
          </p:nvSpPr>
          <p:spPr bwMode="auto">
            <a:xfrm>
              <a:off x="9356498" y="4504725"/>
              <a:ext cx="0" cy="0"/>
            </a:xfrm>
            <a:custGeom>
              <a:avLst/>
              <a:gdLst>
                <a:gd name="T0" fmla="*/ 0 h 2"/>
                <a:gd name="T1" fmla="*/ 2 h 2"/>
                <a:gd name="T2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cubicBezTo>
                    <a:pt x="0" y="1"/>
                    <a:pt x="0" y="1"/>
                    <a:pt x="0" y="2"/>
                  </a:cubicBezTo>
                  <a:cubicBezTo>
                    <a:pt x="0" y="1"/>
                    <a:pt x="0" y="1"/>
                    <a:pt x="0" y="0"/>
                  </a:cubicBezTo>
                </a:path>
              </a:pathLst>
            </a:custGeom>
            <a:solidFill>
              <a:srgbClr val="FFD60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" name="Freeform 46"/>
            <p:cNvSpPr>
              <a:spLocks/>
            </p:cNvSpPr>
            <p:nvPr/>
          </p:nvSpPr>
          <p:spPr bwMode="auto">
            <a:xfrm>
              <a:off x="9359107" y="4496894"/>
              <a:ext cx="0" cy="0"/>
            </a:xfrm>
            <a:custGeom>
              <a:avLst/>
              <a:gdLst>
                <a:gd name="T0" fmla="*/ 0 h 1"/>
                <a:gd name="T1" fmla="*/ 1 h 1"/>
                <a:gd name="T2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</a:path>
              </a:pathLst>
            </a:custGeom>
            <a:solidFill>
              <a:srgbClr val="FFD60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0" name="Freeform 47"/>
            <p:cNvSpPr>
              <a:spLocks/>
            </p:cNvSpPr>
            <p:nvPr/>
          </p:nvSpPr>
          <p:spPr bwMode="auto">
            <a:xfrm>
              <a:off x="9359107" y="4491673"/>
              <a:ext cx="0" cy="0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1" y="0"/>
                  </a:cubicBezTo>
                </a:path>
              </a:pathLst>
            </a:custGeom>
            <a:solidFill>
              <a:srgbClr val="FFD60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1" name="Freeform 48"/>
            <p:cNvSpPr>
              <a:spLocks/>
            </p:cNvSpPr>
            <p:nvPr/>
          </p:nvSpPr>
          <p:spPr bwMode="auto">
            <a:xfrm>
              <a:off x="9356498" y="4499504"/>
              <a:ext cx="0" cy="2612"/>
            </a:xfrm>
            <a:custGeom>
              <a:avLst/>
              <a:gdLst>
                <a:gd name="T0" fmla="*/ 0 h 2"/>
                <a:gd name="T1" fmla="*/ 2 h 2"/>
                <a:gd name="T2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cubicBezTo>
                    <a:pt x="0" y="1"/>
                    <a:pt x="0" y="1"/>
                    <a:pt x="0" y="2"/>
                  </a:cubicBezTo>
                  <a:cubicBezTo>
                    <a:pt x="0" y="1"/>
                    <a:pt x="0" y="1"/>
                    <a:pt x="0" y="0"/>
                  </a:cubicBezTo>
                </a:path>
              </a:pathLst>
            </a:custGeom>
            <a:solidFill>
              <a:srgbClr val="FFD60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2" name="Freeform 49"/>
            <p:cNvSpPr>
              <a:spLocks/>
            </p:cNvSpPr>
            <p:nvPr/>
          </p:nvSpPr>
          <p:spPr bwMode="auto">
            <a:xfrm>
              <a:off x="9340832" y="4478617"/>
              <a:ext cx="201038" cy="180150"/>
            </a:xfrm>
            <a:custGeom>
              <a:avLst/>
              <a:gdLst>
                <a:gd name="T0" fmla="*/ 320 w 336"/>
                <a:gd name="T1" fmla="*/ 72 h 300"/>
                <a:gd name="T2" fmla="*/ 312 w 336"/>
                <a:gd name="T3" fmla="*/ 71 h 300"/>
                <a:gd name="T4" fmla="*/ 312 w 336"/>
                <a:gd name="T5" fmla="*/ 50 h 300"/>
                <a:gd name="T6" fmla="*/ 311 w 336"/>
                <a:gd name="T7" fmla="*/ 44 h 300"/>
                <a:gd name="T8" fmla="*/ 311 w 336"/>
                <a:gd name="T9" fmla="*/ 41 h 300"/>
                <a:gd name="T10" fmla="*/ 310 w 336"/>
                <a:gd name="T11" fmla="*/ 38 h 300"/>
                <a:gd name="T12" fmla="*/ 310 w 336"/>
                <a:gd name="T13" fmla="*/ 35 h 300"/>
                <a:gd name="T14" fmla="*/ 309 w 336"/>
                <a:gd name="T15" fmla="*/ 32 h 300"/>
                <a:gd name="T16" fmla="*/ 308 w 336"/>
                <a:gd name="T17" fmla="*/ 29 h 300"/>
                <a:gd name="T18" fmla="*/ 308 w 336"/>
                <a:gd name="T19" fmla="*/ 27 h 300"/>
                <a:gd name="T20" fmla="*/ 305 w 336"/>
                <a:gd name="T21" fmla="*/ 20 h 300"/>
                <a:gd name="T22" fmla="*/ 304 w 336"/>
                <a:gd name="T23" fmla="*/ 19 h 300"/>
                <a:gd name="T24" fmla="*/ 302 w 336"/>
                <a:gd name="T25" fmla="*/ 15 h 300"/>
                <a:gd name="T26" fmla="*/ 301 w 336"/>
                <a:gd name="T27" fmla="*/ 14 h 300"/>
                <a:gd name="T28" fmla="*/ 299 w 336"/>
                <a:gd name="T29" fmla="*/ 10 h 300"/>
                <a:gd name="T30" fmla="*/ 299 w 336"/>
                <a:gd name="T31" fmla="*/ 10 h 300"/>
                <a:gd name="T32" fmla="*/ 272 w 336"/>
                <a:gd name="T33" fmla="*/ 13 h 300"/>
                <a:gd name="T34" fmla="*/ 225 w 336"/>
                <a:gd name="T35" fmla="*/ 1 h 300"/>
                <a:gd name="T36" fmla="*/ 138 w 336"/>
                <a:gd name="T37" fmla="*/ 13 h 300"/>
                <a:gd name="T38" fmla="*/ 46 w 336"/>
                <a:gd name="T39" fmla="*/ 0 h 300"/>
                <a:gd name="T40" fmla="*/ 33 w 336"/>
                <a:gd name="T41" fmla="*/ 16 h 300"/>
                <a:gd name="T42" fmla="*/ 33 w 336"/>
                <a:gd name="T43" fmla="*/ 16 h 300"/>
                <a:gd name="T44" fmla="*/ 31 w 336"/>
                <a:gd name="T45" fmla="*/ 22 h 300"/>
                <a:gd name="T46" fmla="*/ 30 w 336"/>
                <a:gd name="T47" fmla="*/ 22 h 300"/>
                <a:gd name="T48" fmla="*/ 28 w 336"/>
                <a:gd name="T49" fmla="*/ 28 h 300"/>
                <a:gd name="T50" fmla="*/ 28 w 336"/>
                <a:gd name="T51" fmla="*/ 29 h 300"/>
                <a:gd name="T52" fmla="*/ 26 w 336"/>
                <a:gd name="T53" fmla="*/ 34 h 300"/>
                <a:gd name="T54" fmla="*/ 26 w 336"/>
                <a:gd name="T55" fmla="*/ 36 h 300"/>
                <a:gd name="T56" fmla="*/ 25 w 336"/>
                <a:gd name="T57" fmla="*/ 41 h 300"/>
                <a:gd name="T58" fmla="*/ 25 w 336"/>
                <a:gd name="T59" fmla="*/ 43 h 300"/>
                <a:gd name="T60" fmla="*/ 24 w 336"/>
                <a:gd name="T61" fmla="*/ 50 h 300"/>
                <a:gd name="T62" fmla="*/ 24 w 336"/>
                <a:gd name="T63" fmla="*/ 71 h 300"/>
                <a:gd name="T64" fmla="*/ 20 w 336"/>
                <a:gd name="T65" fmla="*/ 71 h 300"/>
                <a:gd name="T66" fmla="*/ 0 w 336"/>
                <a:gd name="T67" fmla="*/ 95 h 300"/>
                <a:gd name="T68" fmla="*/ 0 w 336"/>
                <a:gd name="T69" fmla="*/ 148 h 300"/>
                <a:gd name="T70" fmla="*/ 24 w 336"/>
                <a:gd name="T71" fmla="*/ 172 h 300"/>
                <a:gd name="T72" fmla="*/ 104 w 336"/>
                <a:gd name="T73" fmla="*/ 300 h 300"/>
                <a:gd name="T74" fmla="*/ 232 w 336"/>
                <a:gd name="T75" fmla="*/ 300 h 300"/>
                <a:gd name="T76" fmla="*/ 312 w 336"/>
                <a:gd name="T77" fmla="*/ 172 h 300"/>
                <a:gd name="T78" fmla="*/ 336 w 336"/>
                <a:gd name="T79" fmla="*/ 148 h 300"/>
                <a:gd name="T80" fmla="*/ 336 w 336"/>
                <a:gd name="T81" fmla="*/ 95 h 300"/>
                <a:gd name="T82" fmla="*/ 320 w 336"/>
                <a:gd name="T83" fmla="*/ 72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36" h="300">
                  <a:moveTo>
                    <a:pt x="320" y="72"/>
                  </a:moveTo>
                  <a:cubicBezTo>
                    <a:pt x="318" y="71"/>
                    <a:pt x="315" y="71"/>
                    <a:pt x="312" y="71"/>
                  </a:cubicBezTo>
                  <a:lnTo>
                    <a:pt x="312" y="50"/>
                  </a:lnTo>
                  <a:cubicBezTo>
                    <a:pt x="312" y="48"/>
                    <a:pt x="312" y="46"/>
                    <a:pt x="311" y="44"/>
                  </a:cubicBezTo>
                  <a:cubicBezTo>
                    <a:pt x="311" y="43"/>
                    <a:pt x="311" y="42"/>
                    <a:pt x="311" y="41"/>
                  </a:cubicBezTo>
                  <a:cubicBezTo>
                    <a:pt x="311" y="40"/>
                    <a:pt x="311" y="39"/>
                    <a:pt x="310" y="38"/>
                  </a:cubicBezTo>
                  <a:cubicBezTo>
                    <a:pt x="310" y="37"/>
                    <a:pt x="310" y="36"/>
                    <a:pt x="310" y="35"/>
                  </a:cubicBezTo>
                  <a:cubicBezTo>
                    <a:pt x="310" y="34"/>
                    <a:pt x="309" y="33"/>
                    <a:pt x="309" y="32"/>
                  </a:cubicBezTo>
                  <a:cubicBezTo>
                    <a:pt x="309" y="31"/>
                    <a:pt x="309" y="30"/>
                    <a:pt x="308" y="29"/>
                  </a:cubicBezTo>
                  <a:cubicBezTo>
                    <a:pt x="308" y="28"/>
                    <a:pt x="308" y="27"/>
                    <a:pt x="308" y="27"/>
                  </a:cubicBezTo>
                  <a:cubicBezTo>
                    <a:pt x="307" y="24"/>
                    <a:pt x="306" y="22"/>
                    <a:pt x="305" y="20"/>
                  </a:cubicBezTo>
                  <a:cubicBezTo>
                    <a:pt x="304" y="19"/>
                    <a:pt x="304" y="19"/>
                    <a:pt x="304" y="19"/>
                  </a:cubicBezTo>
                  <a:cubicBezTo>
                    <a:pt x="303" y="17"/>
                    <a:pt x="303" y="16"/>
                    <a:pt x="302" y="15"/>
                  </a:cubicBezTo>
                  <a:cubicBezTo>
                    <a:pt x="302" y="14"/>
                    <a:pt x="302" y="14"/>
                    <a:pt x="301" y="14"/>
                  </a:cubicBezTo>
                  <a:cubicBezTo>
                    <a:pt x="301" y="12"/>
                    <a:pt x="300" y="11"/>
                    <a:pt x="299" y="10"/>
                  </a:cubicBezTo>
                  <a:lnTo>
                    <a:pt x="299" y="10"/>
                  </a:lnTo>
                  <a:cubicBezTo>
                    <a:pt x="291" y="12"/>
                    <a:pt x="282" y="13"/>
                    <a:pt x="272" y="13"/>
                  </a:cubicBezTo>
                  <a:cubicBezTo>
                    <a:pt x="252" y="13"/>
                    <a:pt x="235" y="8"/>
                    <a:pt x="225" y="1"/>
                  </a:cubicBezTo>
                  <a:cubicBezTo>
                    <a:pt x="204" y="8"/>
                    <a:pt x="172" y="13"/>
                    <a:pt x="138" y="13"/>
                  </a:cubicBezTo>
                  <a:cubicBezTo>
                    <a:pt x="101" y="13"/>
                    <a:pt x="68" y="8"/>
                    <a:pt x="46" y="0"/>
                  </a:cubicBezTo>
                  <a:cubicBezTo>
                    <a:pt x="41" y="4"/>
                    <a:pt x="37" y="10"/>
                    <a:pt x="33" y="16"/>
                  </a:cubicBezTo>
                  <a:cubicBezTo>
                    <a:pt x="33" y="16"/>
                    <a:pt x="33" y="16"/>
                    <a:pt x="33" y="16"/>
                  </a:cubicBezTo>
                  <a:cubicBezTo>
                    <a:pt x="32" y="18"/>
                    <a:pt x="31" y="20"/>
                    <a:pt x="31" y="22"/>
                  </a:cubicBezTo>
                  <a:cubicBezTo>
                    <a:pt x="30" y="22"/>
                    <a:pt x="30" y="22"/>
                    <a:pt x="30" y="22"/>
                  </a:cubicBezTo>
                  <a:cubicBezTo>
                    <a:pt x="29" y="24"/>
                    <a:pt x="29" y="26"/>
                    <a:pt x="28" y="28"/>
                  </a:cubicBezTo>
                  <a:cubicBezTo>
                    <a:pt x="28" y="28"/>
                    <a:pt x="28" y="29"/>
                    <a:pt x="28" y="29"/>
                  </a:cubicBezTo>
                  <a:cubicBezTo>
                    <a:pt x="27" y="31"/>
                    <a:pt x="27" y="33"/>
                    <a:pt x="26" y="34"/>
                  </a:cubicBezTo>
                  <a:cubicBezTo>
                    <a:pt x="26" y="35"/>
                    <a:pt x="26" y="35"/>
                    <a:pt x="26" y="36"/>
                  </a:cubicBezTo>
                  <a:cubicBezTo>
                    <a:pt x="26" y="38"/>
                    <a:pt x="25" y="39"/>
                    <a:pt x="25" y="41"/>
                  </a:cubicBezTo>
                  <a:cubicBezTo>
                    <a:pt x="25" y="42"/>
                    <a:pt x="25" y="42"/>
                    <a:pt x="25" y="43"/>
                  </a:cubicBezTo>
                  <a:cubicBezTo>
                    <a:pt x="25" y="45"/>
                    <a:pt x="24" y="48"/>
                    <a:pt x="24" y="50"/>
                  </a:cubicBezTo>
                  <a:lnTo>
                    <a:pt x="24" y="71"/>
                  </a:lnTo>
                  <a:cubicBezTo>
                    <a:pt x="23" y="71"/>
                    <a:pt x="21" y="71"/>
                    <a:pt x="20" y="71"/>
                  </a:cubicBezTo>
                  <a:cubicBezTo>
                    <a:pt x="9" y="73"/>
                    <a:pt x="0" y="83"/>
                    <a:pt x="0" y="95"/>
                  </a:cubicBezTo>
                  <a:lnTo>
                    <a:pt x="0" y="148"/>
                  </a:lnTo>
                  <a:cubicBezTo>
                    <a:pt x="0" y="161"/>
                    <a:pt x="11" y="172"/>
                    <a:pt x="24" y="172"/>
                  </a:cubicBezTo>
                  <a:cubicBezTo>
                    <a:pt x="24" y="172"/>
                    <a:pt x="66" y="300"/>
                    <a:pt x="104" y="300"/>
                  </a:cubicBezTo>
                  <a:lnTo>
                    <a:pt x="232" y="300"/>
                  </a:lnTo>
                  <a:cubicBezTo>
                    <a:pt x="270" y="300"/>
                    <a:pt x="312" y="172"/>
                    <a:pt x="312" y="172"/>
                  </a:cubicBezTo>
                  <a:cubicBezTo>
                    <a:pt x="325" y="172"/>
                    <a:pt x="336" y="161"/>
                    <a:pt x="336" y="148"/>
                  </a:cubicBezTo>
                  <a:lnTo>
                    <a:pt x="336" y="95"/>
                  </a:lnTo>
                  <a:cubicBezTo>
                    <a:pt x="336" y="85"/>
                    <a:pt x="330" y="76"/>
                    <a:pt x="320" y="72"/>
                  </a:cubicBezTo>
                </a:path>
              </a:pathLst>
            </a:custGeom>
            <a:solidFill>
              <a:srgbClr val="FFB9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3" name="Freeform 50"/>
            <p:cNvSpPr>
              <a:spLocks noEditPoints="1"/>
            </p:cNvSpPr>
            <p:nvPr/>
          </p:nvSpPr>
          <p:spPr bwMode="auto">
            <a:xfrm>
              <a:off x="9359107" y="4515169"/>
              <a:ext cx="169707" cy="54829"/>
            </a:xfrm>
            <a:custGeom>
              <a:avLst/>
              <a:gdLst>
                <a:gd name="T0" fmla="*/ 230 w 288"/>
                <a:gd name="T1" fmla="*/ 82 h 94"/>
                <a:gd name="T2" fmla="*/ 180 w 288"/>
                <a:gd name="T3" fmla="*/ 68 h 94"/>
                <a:gd name="T4" fmla="*/ 176 w 288"/>
                <a:gd name="T5" fmla="*/ 20 h 94"/>
                <a:gd name="T6" fmla="*/ 212 w 288"/>
                <a:gd name="T7" fmla="*/ 11 h 94"/>
                <a:gd name="T8" fmla="*/ 262 w 288"/>
                <a:gd name="T9" fmla="*/ 32 h 94"/>
                <a:gd name="T10" fmla="*/ 230 w 288"/>
                <a:gd name="T11" fmla="*/ 82 h 94"/>
                <a:gd name="T12" fmla="*/ 109 w 288"/>
                <a:gd name="T13" fmla="*/ 68 h 94"/>
                <a:gd name="T14" fmla="*/ 58 w 288"/>
                <a:gd name="T15" fmla="*/ 82 h 94"/>
                <a:gd name="T16" fmla="*/ 26 w 288"/>
                <a:gd name="T17" fmla="*/ 32 h 94"/>
                <a:gd name="T18" fmla="*/ 77 w 288"/>
                <a:gd name="T19" fmla="*/ 11 h 94"/>
                <a:gd name="T20" fmla="*/ 113 w 288"/>
                <a:gd name="T21" fmla="*/ 20 h 94"/>
                <a:gd name="T22" fmla="*/ 109 w 288"/>
                <a:gd name="T23" fmla="*/ 68 h 94"/>
                <a:gd name="T24" fmla="*/ 285 w 288"/>
                <a:gd name="T25" fmla="*/ 7 h 94"/>
                <a:gd name="T26" fmla="*/ 214 w 288"/>
                <a:gd name="T27" fmla="*/ 4 h 94"/>
                <a:gd name="T28" fmla="*/ 145 w 288"/>
                <a:gd name="T29" fmla="*/ 18 h 94"/>
                <a:gd name="T30" fmla="*/ 75 w 288"/>
                <a:gd name="T31" fmla="*/ 4 h 94"/>
                <a:gd name="T32" fmla="*/ 3 w 288"/>
                <a:gd name="T33" fmla="*/ 7 h 94"/>
                <a:gd name="T34" fmla="*/ 2 w 288"/>
                <a:gd name="T35" fmla="*/ 16 h 94"/>
                <a:gd name="T36" fmla="*/ 11 w 288"/>
                <a:gd name="T37" fmla="*/ 27 h 94"/>
                <a:gd name="T38" fmla="*/ 20 w 288"/>
                <a:gd name="T39" fmla="*/ 50 h 94"/>
                <a:gd name="T40" fmla="*/ 86 w 288"/>
                <a:gd name="T41" fmla="*/ 88 h 94"/>
                <a:gd name="T42" fmla="*/ 134 w 288"/>
                <a:gd name="T43" fmla="*/ 38 h 94"/>
                <a:gd name="T44" fmla="*/ 145 w 288"/>
                <a:gd name="T45" fmla="*/ 32 h 94"/>
                <a:gd name="T46" fmla="*/ 156 w 288"/>
                <a:gd name="T47" fmla="*/ 38 h 94"/>
                <a:gd name="T48" fmla="*/ 203 w 288"/>
                <a:gd name="T49" fmla="*/ 88 h 94"/>
                <a:gd name="T50" fmla="*/ 269 w 288"/>
                <a:gd name="T51" fmla="*/ 50 h 94"/>
                <a:gd name="T52" fmla="*/ 277 w 288"/>
                <a:gd name="T53" fmla="*/ 27 h 94"/>
                <a:gd name="T54" fmla="*/ 286 w 288"/>
                <a:gd name="T55" fmla="*/ 16 h 94"/>
                <a:gd name="T56" fmla="*/ 285 w 288"/>
                <a:gd name="T57" fmla="*/ 7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88" h="94">
                  <a:moveTo>
                    <a:pt x="230" y="82"/>
                  </a:moveTo>
                  <a:cubicBezTo>
                    <a:pt x="207" y="85"/>
                    <a:pt x="190" y="80"/>
                    <a:pt x="180" y="68"/>
                  </a:cubicBezTo>
                  <a:cubicBezTo>
                    <a:pt x="170" y="56"/>
                    <a:pt x="160" y="26"/>
                    <a:pt x="176" y="20"/>
                  </a:cubicBezTo>
                  <a:cubicBezTo>
                    <a:pt x="193" y="14"/>
                    <a:pt x="193" y="14"/>
                    <a:pt x="212" y="11"/>
                  </a:cubicBezTo>
                  <a:cubicBezTo>
                    <a:pt x="212" y="11"/>
                    <a:pt x="262" y="3"/>
                    <a:pt x="262" y="32"/>
                  </a:cubicBezTo>
                  <a:cubicBezTo>
                    <a:pt x="262" y="61"/>
                    <a:pt x="254" y="78"/>
                    <a:pt x="230" y="82"/>
                  </a:cubicBezTo>
                  <a:moveTo>
                    <a:pt x="109" y="68"/>
                  </a:moveTo>
                  <a:cubicBezTo>
                    <a:pt x="100" y="80"/>
                    <a:pt x="82" y="85"/>
                    <a:pt x="58" y="82"/>
                  </a:cubicBezTo>
                  <a:cubicBezTo>
                    <a:pt x="35" y="78"/>
                    <a:pt x="26" y="61"/>
                    <a:pt x="26" y="32"/>
                  </a:cubicBezTo>
                  <a:cubicBezTo>
                    <a:pt x="26" y="3"/>
                    <a:pt x="77" y="11"/>
                    <a:pt x="77" y="11"/>
                  </a:cubicBezTo>
                  <a:cubicBezTo>
                    <a:pt x="97" y="14"/>
                    <a:pt x="97" y="14"/>
                    <a:pt x="113" y="20"/>
                  </a:cubicBezTo>
                  <a:cubicBezTo>
                    <a:pt x="129" y="26"/>
                    <a:pt x="119" y="56"/>
                    <a:pt x="109" y="68"/>
                  </a:cubicBezTo>
                  <a:moveTo>
                    <a:pt x="285" y="7"/>
                  </a:moveTo>
                  <a:cubicBezTo>
                    <a:pt x="285" y="7"/>
                    <a:pt x="244" y="0"/>
                    <a:pt x="214" y="4"/>
                  </a:cubicBezTo>
                  <a:cubicBezTo>
                    <a:pt x="183" y="7"/>
                    <a:pt x="159" y="18"/>
                    <a:pt x="145" y="18"/>
                  </a:cubicBezTo>
                  <a:cubicBezTo>
                    <a:pt x="131" y="18"/>
                    <a:pt x="106" y="7"/>
                    <a:pt x="75" y="4"/>
                  </a:cubicBezTo>
                  <a:cubicBezTo>
                    <a:pt x="45" y="0"/>
                    <a:pt x="3" y="7"/>
                    <a:pt x="3" y="7"/>
                  </a:cubicBezTo>
                  <a:cubicBezTo>
                    <a:pt x="0" y="8"/>
                    <a:pt x="1" y="11"/>
                    <a:pt x="2" y="16"/>
                  </a:cubicBezTo>
                  <a:cubicBezTo>
                    <a:pt x="4" y="22"/>
                    <a:pt x="4" y="24"/>
                    <a:pt x="11" y="27"/>
                  </a:cubicBezTo>
                  <a:cubicBezTo>
                    <a:pt x="18" y="31"/>
                    <a:pt x="20" y="50"/>
                    <a:pt x="20" y="50"/>
                  </a:cubicBezTo>
                  <a:cubicBezTo>
                    <a:pt x="25" y="84"/>
                    <a:pt x="51" y="94"/>
                    <a:pt x="86" y="88"/>
                  </a:cubicBezTo>
                  <a:cubicBezTo>
                    <a:pt x="122" y="82"/>
                    <a:pt x="130" y="44"/>
                    <a:pt x="134" y="38"/>
                  </a:cubicBezTo>
                  <a:cubicBezTo>
                    <a:pt x="138" y="32"/>
                    <a:pt x="145" y="32"/>
                    <a:pt x="145" y="32"/>
                  </a:cubicBezTo>
                  <a:cubicBezTo>
                    <a:pt x="145" y="32"/>
                    <a:pt x="152" y="32"/>
                    <a:pt x="156" y="38"/>
                  </a:cubicBezTo>
                  <a:cubicBezTo>
                    <a:pt x="159" y="44"/>
                    <a:pt x="168" y="82"/>
                    <a:pt x="203" y="88"/>
                  </a:cubicBezTo>
                  <a:cubicBezTo>
                    <a:pt x="238" y="94"/>
                    <a:pt x="263" y="84"/>
                    <a:pt x="269" y="50"/>
                  </a:cubicBezTo>
                  <a:cubicBezTo>
                    <a:pt x="269" y="50"/>
                    <a:pt x="271" y="31"/>
                    <a:pt x="277" y="27"/>
                  </a:cubicBezTo>
                  <a:cubicBezTo>
                    <a:pt x="284" y="24"/>
                    <a:pt x="285" y="22"/>
                    <a:pt x="286" y="16"/>
                  </a:cubicBezTo>
                  <a:cubicBezTo>
                    <a:pt x="287" y="11"/>
                    <a:pt x="288" y="8"/>
                    <a:pt x="285" y="7"/>
                  </a:cubicBezTo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4" name="Oval 51"/>
            <p:cNvSpPr>
              <a:spLocks noChangeArrowheads="1"/>
            </p:cNvSpPr>
            <p:nvPr/>
          </p:nvSpPr>
          <p:spPr bwMode="auto">
            <a:xfrm>
              <a:off x="9361719" y="4523003"/>
              <a:ext cx="5221" cy="2612"/>
            </a:xfrm>
            <a:prstGeom prst="ellipse">
              <a:avLst/>
            </a:pr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5" name="Oval 52"/>
            <p:cNvSpPr>
              <a:spLocks noChangeArrowheads="1"/>
            </p:cNvSpPr>
            <p:nvPr/>
          </p:nvSpPr>
          <p:spPr bwMode="auto">
            <a:xfrm>
              <a:off x="9520981" y="4523003"/>
              <a:ext cx="2612" cy="2612"/>
            </a:xfrm>
            <a:prstGeom prst="ellipse">
              <a:avLst/>
            </a:pr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6" name="Rectangle 125"/>
            <p:cNvSpPr/>
            <p:nvPr/>
          </p:nvSpPr>
          <p:spPr>
            <a:xfrm>
              <a:off x="9388178" y="4693219"/>
              <a:ext cx="107550" cy="39252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  <p:grpSp>
          <p:nvGrpSpPr>
            <p:cNvPr id="127" name="Group 126"/>
            <p:cNvGrpSpPr/>
            <p:nvPr/>
          </p:nvGrpSpPr>
          <p:grpSpPr>
            <a:xfrm>
              <a:off x="9154146" y="4691097"/>
              <a:ext cx="579609" cy="639662"/>
              <a:chOff x="11282861" y="3904551"/>
              <a:chExt cx="579609" cy="639662"/>
            </a:xfrm>
            <a:solidFill>
              <a:srgbClr val="442359"/>
            </a:solidFill>
          </p:grpSpPr>
          <p:sp>
            <p:nvSpPr>
              <p:cNvPr id="130" name="Freeform 31"/>
              <p:cNvSpPr>
                <a:spLocks/>
              </p:cNvSpPr>
              <p:nvPr/>
            </p:nvSpPr>
            <p:spPr bwMode="auto">
              <a:xfrm>
                <a:off x="11644285" y="3930801"/>
                <a:ext cx="218185" cy="566750"/>
              </a:xfrm>
              <a:custGeom>
                <a:avLst/>
                <a:gdLst>
                  <a:gd name="T0" fmla="*/ 0 w 364"/>
                  <a:gd name="T1" fmla="*/ 38 h 941"/>
                  <a:gd name="T2" fmla="*/ 144 w 364"/>
                  <a:gd name="T3" fmla="*/ 0 h 941"/>
                  <a:gd name="T4" fmla="*/ 364 w 364"/>
                  <a:gd name="T5" fmla="*/ 941 h 941"/>
                  <a:gd name="T6" fmla="*/ 216 w 364"/>
                  <a:gd name="T7" fmla="*/ 941 h 941"/>
                  <a:gd name="T8" fmla="*/ 0 w 364"/>
                  <a:gd name="T9" fmla="*/ 38 h 9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4" h="941">
                    <a:moveTo>
                      <a:pt x="0" y="38"/>
                    </a:moveTo>
                    <a:cubicBezTo>
                      <a:pt x="48" y="25"/>
                      <a:pt x="96" y="13"/>
                      <a:pt x="144" y="0"/>
                    </a:cubicBezTo>
                    <a:cubicBezTo>
                      <a:pt x="285" y="303"/>
                      <a:pt x="332" y="608"/>
                      <a:pt x="364" y="941"/>
                    </a:cubicBezTo>
                    <a:lnTo>
                      <a:pt x="216" y="941"/>
                    </a:lnTo>
                    <a:cubicBezTo>
                      <a:pt x="181" y="622"/>
                      <a:pt x="136" y="330"/>
                      <a:pt x="0" y="38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1" name="Freeform 30"/>
              <p:cNvSpPr>
                <a:spLocks/>
              </p:cNvSpPr>
              <p:nvPr/>
            </p:nvSpPr>
            <p:spPr bwMode="auto">
              <a:xfrm>
                <a:off x="11282861" y="3935881"/>
                <a:ext cx="216703" cy="556115"/>
              </a:xfrm>
              <a:custGeom>
                <a:avLst/>
                <a:gdLst>
                  <a:gd name="T0" fmla="*/ 364 w 364"/>
                  <a:gd name="T1" fmla="*/ 38 h 941"/>
                  <a:gd name="T2" fmla="*/ 220 w 364"/>
                  <a:gd name="T3" fmla="*/ 0 h 941"/>
                  <a:gd name="T4" fmla="*/ 0 w 364"/>
                  <a:gd name="T5" fmla="*/ 941 h 941"/>
                  <a:gd name="T6" fmla="*/ 148 w 364"/>
                  <a:gd name="T7" fmla="*/ 941 h 941"/>
                  <a:gd name="T8" fmla="*/ 364 w 364"/>
                  <a:gd name="T9" fmla="*/ 38 h 9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4" h="941">
                    <a:moveTo>
                      <a:pt x="364" y="38"/>
                    </a:moveTo>
                    <a:cubicBezTo>
                      <a:pt x="316" y="25"/>
                      <a:pt x="268" y="13"/>
                      <a:pt x="220" y="0"/>
                    </a:cubicBezTo>
                    <a:cubicBezTo>
                      <a:pt x="79" y="303"/>
                      <a:pt x="32" y="608"/>
                      <a:pt x="0" y="941"/>
                    </a:cubicBezTo>
                    <a:lnTo>
                      <a:pt x="148" y="941"/>
                    </a:lnTo>
                    <a:cubicBezTo>
                      <a:pt x="183" y="622"/>
                      <a:pt x="228" y="330"/>
                      <a:pt x="364" y="38"/>
                    </a:cubicBezTo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2" name="Freeform 36"/>
              <p:cNvSpPr>
                <a:spLocks/>
              </p:cNvSpPr>
              <p:nvPr/>
            </p:nvSpPr>
            <p:spPr bwMode="auto">
              <a:xfrm>
                <a:off x="11410792" y="3904551"/>
                <a:ext cx="323747" cy="639662"/>
              </a:xfrm>
              <a:custGeom>
                <a:avLst/>
                <a:gdLst>
                  <a:gd name="T0" fmla="*/ 81 w 124"/>
                  <a:gd name="T1" fmla="*/ 0 h 245"/>
                  <a:gd name="T2" fmla="*/ 62 w 124"/>
                  <a:gd name="T3" fmla="*/ 153 h 245"/>
                  <a:gd name="T4" fmla="*/ 43 w 124"/>
                  <a:gd name="T5" fmla="*/ 0 h 245"/>
                  <a:gd name="T6" fmla="*/ 0 w 124"/>
                  <a:gd name="T7" fmla="*/ 12 h 245"/>
                  <a:gd name="T8" fmla="*/ 2 w 124"/>
                  <a:gd name="T9" fmla="*/ 245 h 245"/>
                  <a:gd name="T10" fmla="*/ 122 w 124"/>
                  <a:gd name="T11" fmla="*/ 245 h 245"/>
                  <a:gd name="T12" fmla="*/ 124 w 124"/>
                  <a:gd name="T13" fmla="*/ 12 h 245"/>
                  <a:gd name="T14" fmla="*/ 81 w 124"/>
                  <a:gd name="T15" fmla="*/ 0 h 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4" h="245">
                    <a:moveTo>
                      <a:pt x="81" y="0"/>
                    </a:moveTo>
                    <a:lnTo>
                      <a:pt x="62" y="153"/>
                    </a:lnTo>
                    <a:lnTo>
                      <a:pt x="43" y="0"/>
                    </a:lnTo>
                    <a:lnTo>
                      <a:pt x="0" y="12"/>
                    </a:lnTo>
                    <a:lnTo>
                      <a:pt x="2" y="245"/>
                    </a:lnTo>
                    <a:lnTo>
                      <a:pt x="122" y="245"/>
                    </a:lnTo>
                    <a:lnTo>
                      <a:pt x="124" y="12"/>
                    </a:lnTo>
                    <a:lnTo>
                      <a:pt x="8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sp>
          <p:nvSpPr>
            <p:cNvPr id="128" name="Freeform 24"/>
            <p:cNvSpPr>
              <a:spLocks/>
            </p:cNvSpPr>
            <p:nvPr/>
          </p:nvSpPr>
          <p:spPr bwMode="auto">
            <a:xfrm>
              <a:off x="9302150" y="5898491"/>
              <a:ext cx="130545" cy="65272"/>
            </a:xfrm>
            <a:custGeom>
              <a:avLst/>
              <a:gdLst>
                <a:gd name="T0" fmla="*/ 106 w 213"/>
                <a:gd name="T1" fmla="*/ 0 h 106"/>
                <a:gd name="T2" fmla="*/ 0 w 213"/>
                <a:gd name="T3" fmla="*/ 106 h 106"/>
                <a:gd name="T4" fmla="*/ 213 w 213"/>
                <a:gd name="T5" fmla="*/ 106 h 106"/>
                <a:gd name="T6" fmla="*/ 106 w 213"/>
                <a:gd name="T7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3" h="106">
                  <a:moveTo>
                    <a:pt x="106" y="0"/>
                  </a:moveTo>
                  <a:cubicBezTo>
                    <a:pt x="47" y="0"/>
                    <a:pt x="0" y="47"/>
                    <a:pt x="0" y="106"/>
                  </a:cubicBezTo>
                  <a:lnTo>
                    <a:pt x="213" y="106"/>
                  </a:lnTo>
                  <a:cubicBezTo>
                    <a:pt x="213" y="47"/>
                    <a:pt x="165" y="0"/>
                    <a:pt x="106" y="0"/>
                  </a:cubicBezTo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9" name="Freeform 25"/>
            <p:cNvSpPr>
              <a:spLocks/>
            </p:cNvSpPr>
            <p:nvPr/>
          </p:nvSpPr>
          <p:spPr bwMode="auto">
            <a:xfrm>
              <a:off x="9446293" y="5898491"/>
              <a:ext cx="133265" cy="65272"/>
            </a:xfrm>
            <a:custGeom>
              <a:avLst/>
              <a:gdLst>
                <a:gd name="T0" fmla="*/ 107 w 213"/>
                <a:gd name="T1" fmla="*/ 0 h 106"/>
                <a:gd name="T2" fmla="*/ 0 w 213"/>
                <a:gd name="T3" fmla="*/ 106 h 106"/>
                <a:gd name="T4" fmla="*/ 213 w 213"/>
                <a:gd name="T5" fmla="*/ 106 h 106"/>
                <a:gd name="T6" fmla="*/ 107 w 213"/>
                <a:gd name="T7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3" h="106">
                  <a:moveTo>
                    <a:pt x="107" y="0"/>
                  </a:moveTo>
                  <a:cubicBezTo>
                    <a:pt x="48" y="0"/>
                    <a:pt x="0" y="47"/>
                    <a:pt x="0" y="106"/>
                  </a:cubicBezTo>
                  <a:lnTo>
                    <a:pt x="213" y="106"/>
                  </a:lnTo>
                  <a:cubicBezTo>
                    <a:pt x="213" y="47"/>
                    <a:pt x="166" y="0"/>
                    <a:pt x="107" y="0"/>
                  </a:cubicBezTo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33" name="Group 132"/>
          <p:cNvGrpSpPr/>
          <p:nvPr/>
        </p:nvGrpSpPr>
        <p:grpSpPr>
          <a:xfrm>
            <a:off x="9833950" y="5319596"/>
            <a:ext cx="400882" cy="278708"/>
            <a:chOff x="8998358" y="4985042"/>
            <a:chExt cx="417591" cy="290325"/>
          </a:xfrm>
        </p:grpSpPr>
        <p:sp>
          <p:nvSpPr>
            <p:cNvPr id="134" name="Rectangle 133"/>
            <p:cNvSpPr/>
            <p:nvPr/>
          </p:nvSpPr>
          <p:spPr>
            <a:xfrm>
              <a:off x="9042001" y="4996361"/>
              <a:ext cx="324489" cy="216246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>
              <a:solidFill>
                <a:schemeClr val="bg2">
                  <a:lumMod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135" name="Freeform 20"/>
            <p:cNvSpPr>
              <a:spLocks noEditPoints="1"/>
            </p:cNvSpPr>
            <p:nvPr/>
          </p:nvSpPr>
          <p:spPr bwMode="black">
            <a:xfrm>
              <a:off x="8998358" y="4985042"/>
              <a:ext cx="417591" cy="290325"/>
            </a:xfrm>
            <a:custGeom>
              <a:avLst/>
              <a:gdLst/>
              <a:ahLst/>
              <a:cxnLst>
                <a:cxn ang="0">
                  <a:pos x="774" y="456"/>
                </a:cxn>
                <a:cxn ang="0">
                  <a:pos x="774" y="36"/>
                </a:cxn>
                <a:cxn ang="0">
                  <a:pos x="737" y="0"/>
                </a:cxn>
                <a:cxn ang="0">
                  <a:pos x="107" y="0"/>
                </a:cxn>
                <a:cxn ang="0">
                  <a:pos x="71" y="36"/>
                </a:cxn>
                <a:cxn ang="0">
                  <a:pos x="71" y="456"/>
                </a:cxn>
                <a:cxn ang="0">
                  <a:pos x="0" y="544"/>
                </a:cxn>
                <a:cxn ang="0">
                  <a:pos x="44" y="588"/>
                </a:cxn>
                <a:cxn ang="0">
                  <a:pos x="800" y="588"/>
                </a:cxn>
                <a:cxn ang="0">
                  <a:pos x="844" y="544"/>
                </a:cxn>
                <a:cxn ang="0">
                  <a:pos x="774" y="456"/>
                </a:cxn>
                <a:cxn ang="0">
                  <a:pos x="481" y="554"/>
                </a:cxn>
                <a:cxn ang="0">
                  <a:pos x="350" y="554"/>
                </a:cxn>
                <a:cxn ang="0">
                  <a:pos x="337" y="547"/>
                </a:cxn>
                <a:cxn ang="0">
                  <a:pos x="352" y="519"/>
                </a:cxn>
                <a:cxn ang="0">
                  <a:pos x="363" y="514"/>
                </a:cxn>
                <a:cxn ang="0">
                  <a:pos x="468" y="514"/>
                </a:cxn>
                <a:cxn ang="0">
                  <a:pos x="478" y="519"/>
                </a:cxn>
                <a:cxn ang="0">
                  <a:pos x="494" y="547"/>
                </a:cxn>
                <a:cxn ang="0">
                  <a:pos x="481" y="554"/>
                </a:cxn>
                <a:cxn ang="0">
                  <a:pos x="748" y="456"/>
                </a:cxn>
                <a:cxn ang="0">
                  <a:pos x="99" y="456"/>
                </a:cxn>
                <a:cxn ang="0">
                  <a:pos x="99" y="42"/>
                </a:cxn>
                <a:cxn ang="0">
                  <a:pos x="117" y="24"/>
                </a:cxn>
                <a:cxn ang="0">
                  <a:pos x="730" y="24"/>
                </a:cxn>
                <a:cxn ang="0">
                  <a:pos x="748" y="42"/>
                </a:cxn>
                <a:cxn ang="0">
                  <a:pos x="748" y="456"/>
                </a:cxn>
              </a:cxnLst>
              <a:rect l="0" t="0" r="r" b="b"/>
              <a:pathLst>
                <a:path w="844" h="588">
                  <a:moveTo>
                    <a:pt x="774" y="456"/>
                  </a:moveTo>
                  <a:cubicBezTo>
                    <a:pt x="774" y="36"/>
                    <a:pt x="774" y="36"/>
                    <a:pt x="774" y="36"/>
                  </a:cubicBezTo>
                  <a:cubicBezTo>
                    <a:pt x="774" y="16"/>
                    <a:pt x="757" y="0"/>
                    <a:pt x="737" y="0"/>
                  </a:cubicBezTo>
                  <a:cubicBezTo>
                    <a:pt x="107" y="0"/>
                    <a:pt x="107" y="0"/>
                    <a:pt x="107" y="0"/>
                  </a:cubicBezTo>
                  <a:cubicBezTo>
                    <a:pt x="87" y="0"/>
                    <a:pt x="71" y="16"/>
                    <a:pt x="71" y="36"/>
                  </a:cubicBezTo>
                  <a:cubicBezTo>
                    <a:pt x="71" y="456"/>
                    <a:pt x="71" y="456"/>
                    <a:pt x="71" y="456"/>
                  </a:cubicBezTo>
                  <a:cubicBezTo>
                    <a:pt x="0" y="544"/>
                    <a:pt x="0" y="544"/>
                    <a:pt x="0" y="544"/>
                  </a:cubicBezTo>
                  <a:cubicBezTo>
                    <a:pt x="0" y="568"/>
                    <a:pt x="20" y="588"/>
                    <a:pt x="44" y="588"/>
                  </a:cubicBezTo>
                  <a:cubicBezTo>
                    <a:pt x="800" y="588"/>
                    <a:pt x="800" y="588"/>
                    <a:pt x="800" y="588"/>
                  </a:cubicBezTo>
                  <a:cubicBezTo>
                    <a:pt x="824" y="588"/>
                    <a:pt x="844" y="568"/>
                    <a:pt x="844" y="544"/>
                  </a:cubicBezTo>
                  <a:lnTo>
                    <a:pt x="774" y="456"/>
                  </a:lnTo>
                  <a:close/>
                  <a:moveTo>
                    <a:pt x="481" y="554"/>
                  </a:moveTo>
                  <a:cubicBezTo>
                    <a:pt x="350" y="554"/>
                    <a:pt x="350" y="554"/>
                    <a:pt x="350" y="554"/>
                  </a:cubicBezTo>
                  <a:cubicBezTo>
                    <a:pt x="343" y="554"/>
                    <a:pt x="337" y="551"/>
                    <a:pt x="337" y="547"/>
                  </a:cubicBezTo>
                  <a:cubicBezTo>
                    <a:pt x="352" y="519"/>
                    <a:pt x="352" y="519"/>
                    <a:pt x="352" y="519"/>
                  </a:cubicBezTo>
                  <a:cubicBezTo>
                    <a:pt x="352" y="516"/>
                    <a:pt x="357" y="514"/>
                    <a:pt x="363" y="514"/>
                  </a:cubicBezTo>
                  <a:cubicBezTo>
                    <a:pt x="468" y="514"/>
                    <a:pt x="468" y="514"/>
                    <a:pt x="468" y="514"/>
                  </a:cubicBezTo>
                  <a:cubicBezTo>
                    <a:pt x="473" y="514"/>
                    <a:pt x="478" y="516"/>
                    <a:pt x="478" y="519"/>
                  </a:cubicBezTo>
                  <a:cubicBezTo>
                    <a:pt x="494" y="547"/>
                    <a:pt x="494" y="547"/>
                    <a:pt x="494" y="547"/>
                  </a:cubicBezTo>
                  <a:cubicBezTo>
                    <a:pt x="494" y="551"/>
                    <a:pt x="488" y="554"/>
                    <a:pt x="481" y="554"/>
                  </a:cubicBezTo>
                  <a:close/>
                  <a:moveTo>
                    <a:pt x="748" y="456"/>
                  </a:moveTo>
                  <a:cubicBezTo>
                    <a:pt x="99" y="456"/>
                    <a:pt x="99" y="456"/>
                    <a:pt x="99" y="456"/>
                  </a:cubicBezTo>
                  <a:cubicBezTo>
                    <a:pt x="99" y="42"/>
                    <a:pt x="99" y="42"/>
                    <a:pt x="99" y="42"/>
                  </a:cubicBezTo>
                  <a:cubicBezTo>
                    <a:pt x="99" y="32"/>
                    <a:pt x="107" y="24"/>
                    <a:pt x="117" y="24"/>
                  </a:cubicBezTo>
                  <a:cubicBezTo>
                    <a:pt x="730" y="24"/>
                    <a:pt x="730" y="24"/>
                    <a:pt x="730" y="24"/>
                  </a:cubicBezTo>
                  <a:cubicBezTo>
                    <a:pt x="740" y="24"/>
                    <a:pt x="748" y="32"/>
                    <a:pt x="748" y="42"/>
                  </a:cubicBezTo>
                  <a:lnTo>
                    <a:pt x="748" y="456"/>
                  </a:lnTo>
                  <a:close/>
                </a:path>
              </a:pathLst>
            </a:custGeom>
            <a:solidFill>
              <a:srgbClr val="DC3C00"/>
            </a:solidFill>
            <a:extLst/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36" name="Rectangle 135"/>
            <p:cNvSpPr/>
            <p:nvPr/>
          </p:nvSpPr>
          <p:spPr bwMode="auto">
            <a:xfrm>
              <a:off x="9058742" y="5009740"/>
              <a:ext cx="54381" cy="52861"/>
            </a:xfrm>
            <a:prstGeom prst="rect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 smtClean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37" name="Rectangle 136"/>
            <p:cNvSpPr/>
            <p:nvPr/>
          </p:nvSpPr>
          <p:spPr bwMode="auto">
            <a:xfrm>
              <a:off x="9117888" y="5009740"/>
              <a:ext cx="54381" cy="52861"/>
            </a:xfrm>
            <a:prstGeom prst="rect">
              <a:avLst/>
            </a:prstGeom>
            <a:solidFill>
              <a:srgbClr val="0072C6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 smtClean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38" name="Rectangle 137"/>
            <p:cNvSpPr/>
            <p:nvPr/>
          </p:nvSpPr>
          <p:spPr bwMode="auto">
            <a:xfrm>
              <a:off x="9177034" y="5009740"/>
              <a:ext cx="54381" cy="52861"/>
            </a:xfrm>
            <a:prstGeom prst="rect">
              <a:avLst/>
            </a:prstGeom>
            <a:solidFill>
              <a:srgbClr val="DC3C00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 smtClean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39" name="Rectangle 138"/>
            <p:cNvSpPr/>
            <p:nvPr/>
          </p:nvSpPr>
          <p:spPr bwMode="auto">
            <a:xfrm>
              <a:off x="9236180" y="5009740"/>
              <a:ext cx="54381" cy="52861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 smtClean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40" name="Rectangle 139"/>
            <p:cNvSpPr/>
            <p:nvPr/>
          </p:nvSpPr>
          <p:spPr bwMode="auto">
            <a:xfrm>
              <a:off x="9058742" y="5070173"/>
              <a:ext cx="54381" cy="52861"/>
            </a:xfrm>
            <a:prstGeom prst="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 smtClean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41" name="Rectangle 140"/>
            <p:cNvSpPr/>
            <p:nvPr/>
          </p:nvSpPr>
          <p:spPr bwMode="auto">
            <a:xfrm>
              <a:off x="9117888" y="5070173"/>
              <a:ext cx="54381" cy="52861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 smtClean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42" name="Rectangle 141"/>
            <p:cNvSpPr/>
            <p:nvPr/>
          </p:nvSpPr>
          <p:spPr bwMode="auto">
            <a:xfrm>
              <a:off x="9177034" y="5070173"/>
              <a:ext cx="54381" cy="52861"/>
            </a:xfrm>
            <a:prstGeom prst="rect">
              <a:avLst/>
            </a:prstGeom>
            <a:solidFill>
              <a:srgbClr val="0072C6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 smtClean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43" name="Rectangle 142"/>
            <p:cNvSpPr/>
            <p:nvPr/>
          </p:nvSpPr>
          <p:spPr bwMode="auto">
            <a:xfrm>
              <a:off x="9236180" y="5070173"/>
              <a:ext cx="54381" cy="52861"/>
            </a:xfrm>
            <a:prstGeom prst="rect">
              <a:avLst/>
            </a:prstGeom>
            <a:solidFill>
              <a:schemeClr val="accent4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 smtClean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44" name="Rectangle 143"/>
            <p:cNvSpPr/>
            <p:nvPr/>
          </p:nvSpPr>
          <p:spPr bwMode="auto">
            <a:xfrm>
              <a:off x="9058742" y="5129510"/>
              <a:ext cx="113527" cy="52861"/>
            </a:xfrm>
            <a:prstGeom prst="rect">
              <a:avLst/>
            </a:prstGeom>
            <a:solidFill>
              <a:srgbClr val="DC3C00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 smtClean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145" name="Group 144"/>
          <p:cNvGrpSpPr/>
          <p:nvPr/>
        </p:nvGrpSpPr>
        <p:grpSpPr>
          <a:xfrm>
            <a:off x="10512095" y="5210427"/>
            <a:ext cx="159800" cy="270865"/>
            <a:chOff x="9495205" y="4755959"/>
            <a:chExt cx="189808" cy="321728"/>
          </a:xfrm>
        </p:grpSpPr>
        <p:sp>
          <p:nvSpPr>
            <p:cNvPr id="146" name="Rectangle 145"/>
            <p:cNvSpPr/>
            <p:nvPr/>
          </p:nvSpPr>
          <p:spPr>
            <a:xfrm>
              <a:off x="9502358" y="4763272"/>
              <a:ext cx="168445" cy="284843"/>
            </a:xfrm>
            <a:prstGeom prst="rect">
              <a:avLst/>
            </a:prstGeom>
            <a:solidFill>
              <a:srgbClr val="00188F"/>
            </a:solidFill>
            <a:ln>
              <a:solidFill>
                <a:srgbClr val="00188F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147" name="Rectangle 79"/>
            <p:cNvSpPr/>
            <p:nvPr/>
          </p:nvSpPr>
          <p:spPr>
            <a:xfrm>
              <a:off x="9495205" y="4755959"/>
              <a:ext cx="189808" cy="321728"/>
            </a:xfrm>
            <a:custGeom>
              <a:avLst/>
              <a:gdLst/>
              <a:ahLst/>
              <a:cxnLst/>
              <a:rect l="l" t="t" r="r" b="b"/>
              <a:pathLst>
                <a:path w="1407298" h="2385394">
                  <a:moveTo>
                    <a:pt x="703650" y="2179220"/>
                  </a:moveTo>
                  <a:cubicBezTo>
                    <a:pt x="660028" y="2179220"/>
                    <a:pt x="624666" y="2214582"/>
                    <a:pt x="624666" y="2258204"/>
                  </a:cubicBezTo>
                  <a:cubicBezTo>
                    <a:pt x="624666" y="2301826"/>
                    <a:pt x="660028" y="2337188"/>
                    <a:pt x="703650" y="2337188"/>
                  </a:cubicBezTo>
                  <a:cubicBezTo>
                    <a:pt x="747272" y="2337188"/>
                    <a:pt x="782634" y="2301826"/>
                    <a:pt x="782634" y="2258204"/>
                  </a:cubicBezTo>
                  <a:cubicBezTo>
                    <a:pt x="782634" y="2214582"/>
                    <a:pt x="747272" y="2179220"/>
                    <a:pt x="703650" y="2179220"/>
                  </a:cubicBezTo>
                  <a:close/>
                  <a:moveTo>
                    <a:pt x="177553" y="179867"/>
                  </a:moveTo>
                  <a:lnTo>
                    <a:pt x="172551" y="180877"/>
                  </a:lnTo>
                  <a:lnTo>
                    <a:pt x="165667" y="180877"/>
                  </a:lnTo>
                  <a:cubicBezTo>
                    <a:pt x="144630" y="180877"/>
                    <a:pt x="127577" y="197930"/>
                    <a:pt x="127577" y="218967"/>
                  </a:cubicBezTo>
                  <a:lnTo>
                    <a:pt x="127577" y="2097793"/>
                  </a:lnTo>
                  <a:cubicBezTo>
                    <a:pt x="127577" y="2118830"/>
                    <a:pt x="144630" y="2135883"/>
                    <a:pt x="165667" y="2135883"/>
                  </a:cubicBezTo>
                  <a:lnTo>
                    <a:pt x="1241631" y="2135883"/>
                  </a:lnTo>
                  <a:cubicBezTo>
                    <a:pt x="1262668" y="2135883"/>
                    <a:pt x="1279721" y="2118830"/>
                    <a:pt x="1279721" y="2097793"/>
                  </a:cubicBezTo>
                  <a:lnTo>
                    <a:pt x="1279721" y="218967"/>
                  </a:lnTo>
                  <a:cubicBezTo>
                    <a:pt x="1279721" y="197930"/>
                    <a:pt x="1262668" y="180877"/>
                    <a:pt x="1241631" y="180877"/>
                  </a:cubicBezTo>
                  <a:lnTo>
                    <a:pt x="1234749" y="180877"/>
                  </a:lnTo>
                  <a:cubicBezTo>
                    <a:pt x="1233161" y="179963"/>
                    <a:pt x="1231465" y="179867"/>
                    <a:pt x="1229746" y="179867"/>
                  </a:cubicBezTo>
                  <a:close/>
                  <a:moveTo>
                    <a:pt x="602415" y="56498"/>
                  </a:moveTo>
                  <a:cubicBezTo>
                    <a:pt x="588290" y="56498"/>
                    <a:pt x="576839" y="67949"/>
                    <a:pt x="576839" y="82074"/>
                  </a:cubicBezTo>
                  <a:cubicBezTo>
                    <a:pt x="576839" y="96199"/>
                    <a:pt x="588290" y="107650"/>
                    <a:pt x="602415" y="107650"/>
                  </a:cubicBezTo>
                  <a:lnTo>
                    <a:pt x="804884" y="107650"/>
                  </a:lnTo>
                  <a:cubicBezTo>
                    <a:pt x="819009" y="107650"/>
                    <a:pt x="830460" y="96199"/>
                    <a:pt x="830460" y="82074"/>
                  </a:cubicBezTo>
                  <a:cubicBezTo>
                    <a:pt x="830460" y="67949"/>
                    <a:pt x="819009" y="56498"/>
                    <a:pt x="804884" y="56498"/>
                  </a:cubicBezTo>
                  <a:close/>
                  <a:moveTo>
                    <a:pt x="76685" y="0"/>
                  </a:moveTo>
                  <a:lnTo>
                    <a:pt x="1330614" y="0"/>
                  </a:lnTo>
                  <a:cubicBezTo>
                    <a:pt x="1372966" y="0"/>
                    <a:pt x="1407298" y="34333"/>
                    <a:pt x="1407298" y="76684"/>
                  </a:cubicBezTo>
                  <a:lnTo>
                    <a:pt x="1407298" y="1757263"/>
                  </a:lnTo>
                  <a:lnTo>
                    <a:pt x="1407298" y="1766789"/>
                  </a:lnTo>
                  <a:lnTo>
                    <a:pt x="1407298" y="2308710"/>
                  </a:lnTo>
                  <a:cubicBezTo>
                    <a:pt x="1407298" y="2351061"/>
                    <a:pt x="1372966" y="2385394"/>
                    <a:pt x="1330614" y="2385394"/>
                  </a:cubicBezTo>
                  <a:lnTo>
                    <a:pt x="76685" y="2385394"/>
                  </a:lnTo>
                  <a:cubicBezTo>
                    <a:pt x="34333" y="2385394"/>
                    <a:pt x="0" y="2351061"/>
                    <a:pt x="0" y="2308710"/>
                  </a:cubicBezTo>
                  <a:lnTo>
                    <a:pt x="0" y="1766789"/>
                  </a:lnTo>
                  <a:lnTo>
                    <a:pt x="0" y="1757263"/>
                  </a:lnTo>
                  <a:lnTo>
                    <a:pt x="0" y="76684"/>
                  </a:lnTo>
                  <a:cubicBezTo>
                    <a:pt x="0" y="34333"/>
                    <a:pt x="34333" y="0"/>
                    <a:pt x="76685" y="0"/>
                  </a:cubicBezTo>
                  <a:close/>
                </a:path>
              </a:pathLst>
            </a:custGeom>
            <a:solidFill>
              <a:schemeClr val="accent5"/>
            </a:solidFill>
            <a:ln w="1079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148" name="Group 147"/>
            <p:cNvGrpSpPr/>
            <p:nvPr/>
          </p:nvGrpSpPr>
          <p:grpSpPr>
            <a:xfrm>
              <a:off x="9523655" y="4790359"/>
              <a:ext cx="114860" cy="169146"/>
              <a:chOff x="9523655" y="4790359"/>
              <a:chExt cx="114860" cy="169146"/>
            </a:xfrm>
          </p:grpSpPr>
          <p:sp>
            <p:nvSpPr>
              <p:cNvPr id="151" name="Rectangle 150"/>
              <p:cNvSpPr/>
              <p:nvPr/>
            </p:nvSpPr>
            <p:spPr bwMode="auto">
              <a:xfrm>
                <a:off x="9523655" y="4790359"/>
                <a:ext cx="54118" cy="52605"/>
              </a:xfrm>
              <a:prstGeom prst="rect">
                <a:avLst/>
              </a:prstGeom>
              <a:solidFill>
                <a:srgbClr val="FF8C00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 smtClean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52" name="Rectangle 151"/>
              <p:cNvSpPr/>
              <p:nvPr/>
            </p:nvSpPr>
            <p:spPr bwMode="auto">
              <a:xfrm>
                <a:off x="9523655" y="4848863"/>
                <a:ext cx="54118" cy="52605"/>
              </a:xfrm>
              <a:prstGeom prst="rect">
                <a:avLst/>
              </a:prstGeom>
              <a:solidFill>
                <a:srgbClr val="008272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 smtClean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53" name="Rectangle 152"/>
              <p:cNvSpPr/>
              <p:nvPr/>
            </p:nvSpPr>
            <p:spPr bwMode="auto">
              <a:xfrm>
                <a:off x="9584397" y="4790359"/>
                <a:ext cx="54118" cy="52605"/>
              </a:xfrm>
              <a:prstGeom prst="rect">
                <a:avLst/>
              </a:prstGeom>
              <a:solidFill>
                <a:srgbClr val="DC3C00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 smtClean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54" name="Rectangle 153"/>
              <p:cNvSpPr/>
              <p:nvPr/>
            </p:nvSpPr>
            <p:spPr bwMode="auto">
              <a:xfrm>
                <a:off x="9584397" y="4848863"/>
                <a:ext cx="54118" cy="52605"/>
              </a:xfrm>
              <a:prstGeom prst="rect">
                <a:avLst/>
              </a:prstGeom>
              <a:solidFill>
                <a:srgbClr val="0070C0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 smtClean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55" name="Rectangle 154"/>
              <p:cNvSpPr/>
              <p:nvPr/>
            </p:nvSpPr>
            <p:spPr bwMode="auto">
              <a:xfrm>
                <a:off x="9523655" y="4906899"/>
                <a:ext cx="54118" cy="52606"/>
              </a:xfrm>
              <a:prstGeom prst="rect">
                <a:avLst/>
              </a:prstGeom>
              <a:solidFill>
                <a:srgbClr val="FF8C00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 smtClean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56" name="Rectangle 155"/>
              <p:cNvSpPr/>
              <p:nvPr/>
            </p:nvSpPr>
            <p:spPr bwMode="auto">
              <a:xfrm>
                <a:off x="9584397" y="4906900"/>
                <a:ext cx="54118" cy="52605"/>
              </a:xfrm>
              <a:prstGeom prst="rect">
                <a:avLst/>
              </a:prstGeom>
              <a:solidFill>
                <a:schemeClr val="bg2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 smtClean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149" name="Rectangle 148"/>
            <p:cNvSpPr/>
            <p:nvPr/>
          </p:nvSpPr>
          <p:spPr bwMode="auto">
            <a:xfrm>
              <a:off x="9523655" y="4966249"/>
              <a:ext cx="54118" cy="52606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 smtClean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50" name="Rectangle 149"/>
            <p:cNvSpPr/>
            <p:nvPr/>
          </p:nvSpPr>
          <p:spPr bwMode="auto">
            <a:xfrm>
              <a:off x="9584397" y="4966250"/>
              <a:ext cx="54118" cy="52605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 smtClean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157" name="Freeform 277"/>
          <p:cNvSpPr>
            <a:spLocks/>
          </p:cNvSpPr>
          <p:nvPr/>
        </p:nvSpPr>
        <p:spPr bwMode="auto">
          <a:xfrm>
            <a:off x="9592798" y="1410688"/>
            <a:ext cx="2332034" cy="1301802"/>
          </a:xfrm>
          <a:custGeom>
            <a:avLst/>
            <a:gdLst>
              <a:gd name="T0" fmla="*/ 1466 w 1746"/>
              <a:gd name="T1" fmla="*/ 504 h 1148"/>
              <a:gd name="T2" fmla="*/ 1466 w 1746"/>
              <a:gd name="T3" fmla="*/ 481 h 1148"/>
              <a:gd name="T4" fmla="*/ 985 w 1746"/>
              <a:gd name="T5" fmla="*/ 0 h 1148"/>
              <a:gd name="T6" fmla="*/ 584 w 1746"/>
              <a:gd name="T7" fmla="*/ 215 h 1148"/>
              <a:gd name="T8" fmla="*/ 452 w 1746"/>
              <a:gd name="T9" fmla="*/ 180 h 1148"/>
              <a:gd name="T10" fmla="*/ 297 w 1746"/>
              <a:gd name="T11" fmla="*/ 226 h 1148"/>
              <a:gd name="T12" fmla="*/ 173 w 1746"/>
              <a:gd name="T13" fmla="*/ 452 h 1148"/>
              <a:gd name="T14" fmla="*/ 0 w 1746"/>
              <a:gd name="T15" fmla="*/ 770 h 1148"/>
              <a:gd name="T16" fmla="*/ 337 w 1746"/>
              <a:gd name="T17" fmla="*/ 1148 h 1148"/>
              <a:gd name="T18" fmla="*/ 378 w 1746"/>
              <a:gd name="T19" fmla="*/ 1148 h 1148"/>
              <a:gd name="T20" fmla="*/ 417 w 1746"/>
              <a:gd name="T21" fmla="*/ 1148 h 1148"/>
              <a:gd name="T22" fmla="*/ 1203 w 1746"/>
              <a:gd name="T23" fmla="*/ 1148 h 1148"/>
              <a:gd name="T24" fmla="*/ 1219 w 1746"/>
              <a:gd name="T25" fmla="*/ 1148 h 1148"/>
              <a:gd name="T26" fmla="*/ 1239 w 1746"/>
              <a:gd name="T27" fmla="*/ 1148 h 1148"/>
              <a:gd name="T28" fmla="*/ 1296 w 1746"/>
              <a:gd name="T29" fmla="*/ 1148 h 1148"/>
              <a:gd name="T30" fmla="*/ 1422 w 1746"/>
              <a:gd name="T31" fmla="*/ 1148 h 1148"/>
              <a:gd name="T32" fmla="*/ 1746 w 1746"/>
              <a:gd name="T33" fmla="*/ 824 h 1148"/>
              <a:gd name="T34" fmla="*/ 1466 w 1746"/>
              <a:gd name="T35" fmla="*/ 504 h 11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746" h="1148">
                <a:moveTo>
                  <a:pt x="1466" y="504"/>
                </a:moveTo>
                <a:lnTo>
                  <a:pt x="1466" y="481"/>
                </a:lnTo>
                <a:cubicBezTo>
                  <a:pt x="1466" y="215"/>
                  <a:pt x="1251" y="0"/>
                  <a:pt x="985" y="0"/>
                </a:cubicBezTo>
                <a:cubicBezTo>
                  <a:pt x="818" y="0"/>
                  <a:pt x="671" y="87"/>
                  <a:pt x="584" y="215"/>
                </a:cubicBezTo>
                <a:cubicBezTo>
                  <a:pt x="545" y="193"/>
                  <a:pt x="500" y="180"/>
                  <a:pt x="452" y="180"/>
                </a:cubicBezTo>
                <a:cubicBezTo>
                  <a:pt x="394" y="180"/>
                  <a:pt x="341" y="197"/>
                  <a:pt x="297" y="226"/>
                </a:cubicBezTo>
                <a:cubicBezTo>
                  <a:pt x="223" y="275"/>
                  <a:pt x="175" y="358"/>
                  <a:pt x="173" y="452"/>
                </a:cubicBezTo>
                <a:cubicBezTo>
                  <a:pt x="70" y="520"/>
                  <a:pt x="0" y="638"/>
                  <a:pt x="0" y="770"/>
                </a:cubicBezTo>
                <a:cubicBezTo>
                  <a:pt x="0" y="966"/>
                  <a:pt x="147" y="1126"/>
                  <a:pt x="337" y="1148"/>
                </a:cubicBezTo>
                <a:lnTo>
                  <a:pt x="378" y="1148"/>
                </a:lnTo>
                <a:lnTo>
                  <a:pt x="417" y="1148"/>
                </a:lnTo>
                <a:lnTo>
                  <a:pt x="1203" y="1148"/>
                </a:lnTo>
                <a:lnTo>
                  <a:pt x="1219" y="1148"/>
                </a:lnTo>
                <a:lnTo>
                  <a:pt x="1239" y="1148"/>
                </a:lnTo>
                <a:lnTo>
                  <a:pt x="1296" y="1148"/>
                </a:lnTo>
                <a:lnTo>
                  <a:pt x="1422" y="1148"/>
                </a:lnTo>
                <a:cubicBezTo>
                  <a:pt x="1601" y="1145"/>
                  <a:pt x="1746" y="1001"/>
                  <a:pt x="1746" y="824"/>
                </a:cubicBezTo>
                <a:cubicBezTo>
                  <a:pt x="1746" y="661"/>
                  <a:pt x="1624" y="526"/>
                  <a:pt x="1466" y="504"/>
                </a:cubicBezTo>
              </a:path>
            </a:pathLst>
          </a:custGeom>
          <a:solidFill>
            <a:srgbClr val="00BCF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58" name="Oval 312"/>
          <p:cNvSpPr>
            <a:spLocks noChangeArrowheads="1"/>
          </p:cNvSpPr>
          <p:nvPr/>
        </p:nvSpPr>
        <p:spPr bwMode="auto">
          <a:xfrm>
            <a:off x="11344526" y="1602447"/>
            <a:ext cx="519725" cy="519725"/>
          </a:xfrm>
          <a:prstGeom prst="ellipse">
            <a:avLst/>
          </a:pr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59" name="Oval 312"/>
          <p:cNvSpPr>
            <a:spLocks noChangeArrowheads="1"/>
          </p:cNvSpPr>
          <p:nvPr/>
        </p:nvSpPr>
        <p:spPr bwMode="auto">
          <a:xfrm>
            <a:off x="11315049" y="1579386"/>
            <a:ext cx="519725" cy="519725"/>
          </a:xfrm>
          <a:prstGeom prst="ellipse">
            <a:avLst/>
          </a:prstGeom>
          <a:solidFill>
            <a:srgbClr val="00B294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160" name="Group 159"/>
          <p:cNvGrpSpPr/>
          <p:nvPr/>
        </p:nvGrpSpPr>
        <p:grpSpPr>
          <a:xfrm>
            <a:off x="10774298" y="1729344"/>
            <a:ext cx="329344" cy="347227"/>
            <a:chOff x="10539483" y="2361140"/>
            <a:chExt cx="280669" cy="295909"/>
          </a:xfrm>
        </p:grpSpPr>
        <p:sp>
          <p:nvSpPr>
            <p:cNvPr id="161" name="Oval 317"/>
            <p:cNvSpPr>
              <a:spLocks noChangeArrowheads="1"/>
            </p:cNvSpPr>
            <p:nvPr/>
          </p:nvSpPr>
          <p:spPr bwMode="auto">
            <a:xfrm>
              <a:off x="10550277" y="2387174"/>
              <a:ext cx="269875" cy="269875"/>
            </a:xfrm>
            <a:prstGeom prst="ellipse">
              <a:avLst/>
            </a:pr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2" name="Oval 318"/>
            <p:cNvSpPr>
              <a:spLocks noChangeArrowheads="1"/>
            </p:cNvSpPr>
            <p:nvPr/>
          </p:nvSpPr>
          <p:spPr bwMode="auto">
            <a:xfrm>
              <a:off x="10539483" y="2361140"/>
              <a:ext cx="269875" cy="271463"/>
            </a:xfrm>
            <a:prstGeom prst="ellipse">
              <a:avLst/>
            </a:prstGeom>
            <a:solidFill>
              <a:srgbClr val="44235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65" name="Group 164"/>
          <p:cNvGrpSpPr/>
          <p:nvPr/>
        </p:nvGrpSpPr>
        <p:grpSpPr>
          <a:xfrm>
            <a:off x="11159816" y="2199506"/>
            <a:ext cx="403812" cy="405983"/>
            <a:chOff x="10864921" y="3126315"/>
            <a:chExt cx="295275" cy="296862"/>
          </a:xfrm>
        </p:grpSpPr>
        <p:sp>
          <p:nvSpPr>
            <p:cNvPr id="167" name="Oval 314"/>
            <p:cNvSpPr>
              <a:spLocks noChangeArrowheads="1"/>
            </p:cNvSpPr>
            <p:nvPr/>
          </p:nvSpPr>
          <p:spPr bwMode="auto">
            <a:xfrm>
              <a:off x="10890321" y="3153302"/>
              <a:ext cx="269875" cy="269875"/>
            </a:xfrm>
            <a:prstGeom prst="ellipse">
              <a:avLst/>
            </a:pr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8" name="Oval 315"/>
            <p:cNvSpPr>
              <a:spLocks noChangeArrowheads="1"/>
            </p:cNvSpPr>
            <p:nvPr/>
          </p:nvSpPr>
          <p:spPr bwMode="auto">
            <a:xfrm>
              <a:off x="10864921" y="3126315"/>
              <a:ext cx="269875" cy="271463"/>
            </a:xfrm>
            <a:prstGeom prst="ellipse">
              <a:avLst/>
            </a:prstGeom>
            <a:solidFill>
              <a:srgbClr val="FF8C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70" name="Group 169"/>
          <p:cNvGrpSpPr/>
          <p:nvPr/>
        </p:nvGrpSpPr>
        <p:grpSpPr>
          <a:xfrm>
            <a:off x="9872398" y="1322679"/>
            <a:ext cx="746233" cy="753892"/>
            <a:chOff x="9772717" y="1048440"/>
            <a:chExt cx="635944" cy="642471"/>
          </a:xfrm>
        </p:grpSpPr>
        <p:sp>
          <p:nvSpPr>
            <p:cNvPr id="171" name="Freeform 306"/>
            <p:cNvSpPr>
              <a:spLocks noEditPoints="1"/>
            </p:cNvSpPr>
            <p:nvPr/>
          </p:nvSpPr>
          <p:spPr bwMode="auto">
            <a:xfrm>
              <a:off x="9982267" y="1281802"/>
              <a:ext cx="309563" cy="263525"/>
            </a:xfrm>
            <a:custGeom>
              <a:avLst/>
              <a:gdLst>
                <a:gd name="T0" fmla="*/ 520 w 859"/>
                <a:gd name="T1" fmla="*/ 361 h 732"/>
                <a:gd name="T2" fmla="*/ 589 w 859"/>
                <a:gd name="T3" fmla="*/ 370 h 732"/>
                <a:gd name="T4" fmla="*/ 602 w 859"/>
                <a:gd name="T5" fmla="*/ 339 h 732"/>
                <a:gd name="T6" fmla="*/ 598 w 859"/>
                <a:gd name="T7" fmla="*/ 321 h 732"/>
                <a:gd name="T8" fmla="*/ 572 w 859"/>
                <a:gd name="T9" fmla="*/ 324 h 732"/>
                <a:gd name="T10" fmla="*/ 545 w 859"/>
                <a:gd name="T11" fmla="*/ 291 h 732"/>
                <a:gd name="T12" fmla="*/ 523 w 859"/>
                <a:gd name="T13" fmla="*/ 315 h 732"/>
                <a:gd name="T14" fmla="*/ 487 w 859"/>
                <a:gd name="T15" fmla="*/ 318 h 732"/>
                <a:gd name="T16" fmla="*/ 474 w 859"/>
                <a:gd name="T17" fmla="*/ 334 h 732"/>
                <a:gd name="T18" fmla="*/ 489 w 859"/>
                <a:gd name="T19" fmla="*/ 361 h 732"/>
                <a:gd name="T20" fmla="*/ 474 w 859"/>
                <a:gd name="T21" fmla="*/ 388 h 732"/>
                <a:gd name="T22" fmla="*/ 487 w 859"/>
                <a:gd name="T23" fmla="*/ 405 h 732"/>
                <a:gd name="T24" fmla="*/ 523 w 859"/>
                <a:gd name="T25" fmla="*/ 408 h 732"/>
                <a:gd name="T26" fmla="*/ 545 w 859"/>
                <a:gd name="T27" fmla="*/ 432 h 732"/>
                <a:gd name="T28" fmla="*/ 572 w 859"/>
                <a:gd name="T29" fmla="*/ 399 h 732"/>
                <a:gd name="T30" fmla="*/ 598 w 859"/>
                <a:gd name="T31" fmla="*/ 402 h 732"/>
                <a:gd name="T32" fmla="*/ 602 w 859"/>
                <a:gd name="T33" fmla="*/ 384 h 732"/>
                <a:gd name="T34" fmla="*/ 381 w 859"/>
                <a:gd name="T35" fmla="*/ 430 h 732"/>
                <a:gd name="T36" fmla="*/ 357 w 859"/>
                <a:gd name="T37" fmla="*/ 452 h 732"/>
                <a:gd name="T38" fmla="*/ 381 w 859"/>
                <a:gd name="T39" fmla="*/ 505 h 732"/>
                <a:gd name="T40" fmla="*/ 345 w 859"/>
                <a:gd name="T41" fmla="*/ 417 h 732"/>
                <a:gd name="T42" fmla="*/ 432 w 859"/>
                <a:gd name="T43" fmla="*/ 452 h 732"/>
                <a:gd name="T44" fmla="*/ 499 w 859"/>
                <a:gd name="T45" fmla="*/ 414 h 732"/>
                <a:gd name="T46" fmla="*/ 475 w 859"/>
                <a:gd name="T47" fmla="*/ 370 h 732"/>
                <a:gd name="T48" fmla="*/ 447 w 859"/>
                <a:gd name="T49" fmla="*/ 346 h 732"/>
                <a:gd name="T50" fmla="*/ 399 w 859"/>
                <a:gd name="T51" fmla="*/ 324 h 732"/>
                <a:gd name="T52" fmla="*/ 362 w 859"/>
                <a:gd name="T53" fmla="*/ 324 h 732"/>
                <a:gd name="T54" fmla="*/ 316 w 859"/>
                <a:gd name="T55" fmla="*/ 346 h 732"/>
                <a:gd name="T56" fmla="*/ 287 w 859"/>
                <a:gd name="T57" fmla="*/ 370 h 732"/>
                <a:gd name="T58" fmla="*/ 263 w 859"/>
                <a:gd name="T59" fmla="*/ 414 h 732"/>
                <a:gd name="T60" fmla="*/ 256 w 859"/>
                <a:gd name="T61" fmla="*/ 450 h 732"/>
                <a:gd name="T62" fmla="*/ 265 w 859"/>
                <a:gd name="T63" fmla="*/ 499 h 732"/>
                <a:gd name="T64" fmla="*/ 283 w 859"/>
                <a:gd name="T65" fmla="*/ 530 h 732"/>
                <a:gd name="T66" fmla="*/ 322 w 859"/>
                <a:gd name="T67" fmla="*/ 563 h 732"/>
                <a:gd name="T68" fmla="*/ 356 w 859"/>
                <a:gd name="T69" fmla="*/ 577 h 732"/>
                <a:gd name="T70" fmla="*/ 386 w 859"/>
                <a:gd name="T71" fmla="*/ 544 h 732"/>
                <a:gd name="T72" fmla="*/ 436 w 859"/>
                <a:gd name="T73" fmla="*/ 569 h 732"/>
                <a:gd name="T74" fmla="*/ 444 w 859"/>
                <a:gd name="T75" fmla="*/ 520 h 732"/>
                <a:gd name="T76" fmla="*/ 499 w 859"/>
                <a:gd name="T77" fmla="*/ 508 h 732"/>
                <a:gd name="T78" fmla="*/ 472 w 859"/>
                <a:gd name="T79" fmla="*/ 465 h 732"/>
                <a:gd name="T80" fmla="*/ 0 w 859"/>
                <a:gd name="T81" fmla="*/ 0 h 732"/>
                <a:gd name="T82" fmla="*/ 0 w 859"/>
                <a:gd name="T83" fmla="*/ 86 h 732"/>
                <a:gd name="T84" fmla="*/ 859 w 859"/>
                <a:gd name="T85" fmla="*/ 130 h 732"/>
                <a:gd name="T86" fmla="*/ 0 w 859"/>
                <a:gd name="T87" fmla="*/ 130 h 732"/>
                <a:gd name="T88" fmla="*/ 815 w 859"/>
                <a:gd name="T89" fmla="*/ 173 h 7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59" h="732">
                  <a:moveTo>
                    <a:pt x="559" y="361"/>
                  </a:moveTo>
                  <a:cubicBezTo>
                    <a:pt x="559" y="372"/>
                    <a:pt x="550" y="381"/>
                    <a:pt x="539" y="381"/>
                  </a:cubicBezTo>
                  <a:cubicBezTo>
                    <a:pt x="529" y="381"/>
                    <a:pt x="520" y="372"/>
                    <a:pt x="520" y="361"/>
                  </a:cubicBezTo>
                  <a:cubicBezTo>
                    <a:pt x="520" y="351"/>
                    <a:pt x="529" y="342"/>
                    <a:pt x="539" y="342"/>
                  </a:cubicBezTo>
                  <a:cubicBezTo>
                    <a:pt x="550" y="342"/>
                    <a:pt x="559" y="351"/>
                    <a:pt x="559" y="361"/>
                  </a:cubicBezTo>
                  <a:moveTo>
                    <a:pt x="589" y="370"/>
                  </a:moveTo>
                  <a:cubicBezTo>
                    <a:pt x="589" y="369"/>
                    <a:pt x="590" y="364"/>
                    <a:pt x="590" y="361"/>
                  </a:cubicBezTo>
                  <a:cubicBezTo>
                    <a:pt x="590" y="358"/>
                    <a:pt x="589" y="355"/>
                    <a:pt x="589" y="352"/>
                  </a:cubicBezTo>
                  <a:lnTo>
                    <a:pt x="602" y="339"/>
                  </a:lnTo>
                  <a:cubicBezTo>
                    <a:pt x="605" y="339"/>
                    <a:pt x="605" y="336"/>
                    <a:pt x="605" y="334"/>
                  </a:cubicBezTo>
                  <a:lnTo>
                    <a:pt x="605" y="331"/>
                  </a:lnTo>
                  <a:lnTo>
                    <a:pt x="598" y="321"/>
                  </a:lnTo>
                  <a:cubicBezTo>
                    <a:pt x="596" y="319"/>
                    <a:pt x="595" y="318"/>
                    <a:pt x="592" y="318"/>
                  </a:cubicBezTo>
                  <a:lnTo>
                    <a:pt x="590" y="318"/>
                  </a:lnTo>
                  <a:lnTo>
                    <a:pt x="572" y="324"/>
                  </a:lnTo>
                  <a:cubicBezTo>
                    <a:pt x="568" y="319"/>
                    <a:pt x="562" y="317"/>
                    <a:pt x="556" y="315"/>
                  </a:cubicBezTo>
                  <a:lnTo>
                    <a:pt x="551" y="296"/>
                  </a:lnTo>
                  <a:cubicBezTo>
                    <a:pt x="551" y="294"/>
                    <a:pt x="548" y="291"/>
                    <a:pt x="545" y="291"/>
                  </a:cubicBezTo>
                  <a:lnTo>
                    <a:pt x="533" y="291"/>
                  </a:lnTo>
                  <a:cubicBezTo>
                    <a:pt x="530" y="291"/>
                    <a:pt x="527" y="294"/>
                    <a:pt x="527" y="296"/>
                  </a:cubicBezTo>
                  <a:lnTo>
                    <a:pt x="523" y="315"/>
                  </a:lnTo>
                  <a:cubicBezTo>
                    <a:pt x="517" y="317"/>
                    <a:pt x="511" y="319"/>
                    <a:pt x="507" y="324"/>
                  </a:cubicBezTo>
                  <a:lnTo>
                    <a:pt x="489" y="318"/>
                  </a:lnTo>
                  <a:lnTo>
                    <a:pt x="487" y="318"/>
                  </a:lnTo>
                  <a:cubicBezTo>
                    <a:pt x="484" y="318"/>
                    <a:pt x="483" y="319"/>
                    <a:pt x="481" y="321"/>
                  </a:cubicBezTo>
                  <a:lnTo>
                    <a:pt x="475" y="331"/>
                  </a:lnTo>
                  <a:cubicBezTo>
                    <a:pt x="474" y="333"/>
                    <a:pt x="474" y="334"/>
                    <a:pt x="474" y="334"/>
                  </a:cubicBezTo>
                  <a:cubicBezTo>
                    <a:pt x="474" y="336"/>
                    <a:pt x="475" y="339"/>
                    <a:pt x="475" y="339"/>
                  </a:cubicBezTo>
                  <a:lnTo>
                    <a:pt x="492" y="352"/>
                  </a:lnTo>
                  <a:cubicBezTo>
                    <a:pt x="490" y="355"/>
                    <a:pt x="489" y="358"/>
                    <a:pt x="489" y="361"/>
                  </a:cubicBezTo>
                  <a:cubicBezTo>
                    <a:pt x="489" y="364"/>
                    <a:pt x="490" y="367"/>
                    <a:pt x="492" y="370"/>
                  </a:cubicBezTo>
                  <a:lnTo>
                    <a:pt x="475" y="384"/>
                  </a:lnTo>
                  <a:cubicBezTo>
                    <a:pt x="475" y="385"/>
                    <a:pt x="474" y="387"/>
                    <a:pt x="474" y="388"/>
                  </a:cubicBezTo>
                  <a:cubicBezTo>
                    <a:pt x="474" y="390"/>
                    <a:pt x="474" y="390"/>
                    <a:pt x="475" y="391"/>
                  </a:cubicBezTo>
                  <a:lnTo>
                    <a:pt x="481" y="402"/>
                  </a:lnTo>
                  <a:cubicBezTo>
                    <a:pt x="483" y="405"/>
                    <a:pt x="484" y="405"/>
                    <a:pt x="487" y="405"/>
                  </a:cubicBezTo>
                  <a:lnTo>
                    <a:pt x="489" y="405"/>
                  </a:lnTo>
                  <a:lnTo>
                    <a:pt x="507" y="399"/>
                  </a:lnTo>
                  <a:cubicBezTo>
                    <a:pt x="511" y="403"/>
                    <a:pt x="517" y="406"/>
                    <a:pt x="523" y="408"/>
                  </a:cubicBezTo>
                  <a:lnTo>
                    <a:pt x="527" y="427"/>
                  </a:lnTo>
                  <a:cubicBezTo>
                    <a:pt x="527" y="430"/>
                    <a:pt x="530" y="432"/>
                    <a:pt x="533" y="432"/>
                  </a:cubicBezTo>
                  <a:lnTo>
                    <a:pt x="545" y="432"/>
                  </a:lnTo>
                  <a:cubicBezTo>
                    <a:pt x="548" y="432"/>
                    <a:pt x="551" y="430"/>
                    <a:pt x="551" y="427"/>
                  </a:cubicBezTo>
                  <a:lnTo>
                    <a:pt x="556" y="409"/>
                  </a:lnTo>
                  <a:cubicBezTo>
                    <a:pt x="562" y="406"/>
                    <a:pt x="568" y="403"/>
                    <a:pt x="572" y="399"/>
                  </a:cubicBezTo>
                  <a:lnTo>
                    <a:pt x="590" y="405"/>
                  </a:lnTo>
                  <a:lnTo>
                    <a:pt x="592" y="405"/>
                  </a:lnTo>
                  <a:cubicBezTo>
                    <a:pt x="595" y="405"/>
                    <a:pt x="596" y="405"/>
                    <a:pt x="598" y="402"/>
                  </a:cubicBezTo>
                  <a:lnTo>
                    <a:pt x="605" y="391"/>
                  </a:lnTo>
                  <a:lnTo>
                    <a:pt x="605" y="388"/>
                  </a:lnTo>
                  <a:cubicBezTo>
                    <a:pt x="605" y="387"/>
                    <a:pt x="605" y="385"/>
                    <a:pt x="602" y="384"/>
                  </a:cubicBezTo>
                  <a:lnTo>
                    <a:pt x="589" y="370"/>
                  </a:lnTo>
                  <a:close/>
                  <a:moveTo>
                    <a:pt x="357" y="452"/>
                  </a:moveTo>
                  <a:cubicBezTo>
                    <a:pt x="357" y="441"/>
                    <a:pt x="368" y="430"/>
                    <a:pt x="381" y="430"/>
                  </a:cubicBezTo>
                  <a:cubicBezTo>
                    <a:pt x="395" y="430"/>
                    <a:pt x="405" y="441"/>
                    <a:pt x="405" y="452"/>
                  </a:cubicBezTo>
                  <a:cubicBezTo>
                    <a:pt x="405" y="466"/>
                    <a:pt x="395" y="476"/>
                    <a:pt x="381" y="476"/>
                  </a:cubicBezTo>
                  <a:cubicBezTo>
                    <a:pt x="368" y="476"/>
                    <a:pt x="357" y="466"/>
                    <a:pt x="357" y="452"/>
                  </a:cubicBezTo>
                  <a:moveTo>
                    <a:pt x="432" y="452"/>
                  </a:moveTo>
                  <a:cubicBezTo>
                    <a:pt x="432" y="468"/>
                    <a:pt x="426" y="479"/>
                    <a:pt x="417" y="490"/>
                  </a:cubicBezTo>
                  <a:cubicBezTo>
                    <a:pt x="408" y="499"/>
                    <a:pt x="395" y="505"/>
                    <a:pt x="381" y="505"/>
                  </a:cubicBezTo>
                  <a:cubicBezTo>
                    <a:pt x="366" y="505"/>
                    <a:pt x="354" y="499"/>
                    <a:pt x="345" y="490"/>
                  </a:cubicBezTo>
                  <a:cubicBezTo>
                    <a:pt x="337" y="479"/>
                    <a:pt x="331" y="468"/>
                    <a:pt x="331" y="452"/>
                  </a:cubicBezTo>
                  <a:cubicBezTo>
                    <a:pt x="331" y="439"/>
                    <a:pt x="337" y="426"/>
                    <a:pt x="345" y="417"/>
                  </a:cubicBezTo>
                  <a:cubicBezTo>
                    <a:pt x="354" y="408"/>
                    <a:pt x="366" y="402"/>
                    <a:pt x="381" y="402"/>
                  </a:cubicBezTo>
                  <a:cubicBezTo>
                    <a:pt x="395" y="402"/>
                    <a:pt x="408" y="408"/>
                    <a:pt x="417" y="417"/>
                  </a:cubicBezTo>
                  <a:cubicBezTo>
                    <a:pt x="426" y="426"/>
                    <a:pt x="432" y="439"/>
                    <a:pt x="432" y="452"/>
                  </a:cubicBezTo>
                  <a:moveTo>
                    <a:pt x="510" y="442"/>
                  </a:moveTo>
                  <a:lnTo>
                    <a:pt x="505" y="418"/>
                  </a:lnTo>
                  <a:cubicBezTo>
                    <a:pt x="505" y="417"/>
                    <a:pt x="504" y="414"/>
                    <a:pt x="499" y="414"/>
                  </a:cubicBezTo>
                  <a:lnTo>
                    <a:pt x="463" y="412"/>
                  </a:lnTo>
                  <a:cubicBezTo>
                    <a:pt x="462" y="409"/>
                    <a:pt x="460" y="406"/>
                    <a:pt x="457" y="403"/>
                  </a:cubicBezTo>
                  <a:lnTo>
                    <a:pt x="475" y="370"/>
                  </a:lnTo>
                  <a:cubicBezTo>
                    <a:pt x="477" y="367"/>
                    <a:pt x="475" y="364"/>
                    <a:pt x="472" y="363"/>
                  </a:cubicBezTo>
                  <a:lnTo>
                    <a:pt x="454" y="348"/>
                  </a:lnTo>
                  <a:cubicBezTo>
                    <a:pt x="453" y="345"/>
                    <a:pt x="448" y="345"/>
                    <a:pt x="447" y="346"/>
                  </a:cubicBezTo>
                  <a:lnTo>
                    <a:pt x="417" y="369"/>
                  </a:lnTo>
                  <a:cubicBezTo>
                    <a:pt x="414" y="367"/>
                    <a:pt x="413" y="367"/>
                    <a:pt x="408" y="366"/>
                  </a:cubicBezTo>
                  <a:lnTo>
                    <a:pt x="399" y="324"/>
                  </a:lnTo>
                  <a:cubicBezTo>
                    <a:pt x="399" y="321"/>
                    <a:pt x="396" y="319"/>
                    <a:pt x="393" y="319"/>
                  </a:cubicBezTo>
                  <a:lnTo>
                    <a:pt x="369" y="319"/>
                  </a:lnTo>
                  <a:cubicBezTo>
                    <a:pt x="366" y="319"/>
                    <a:pt x="363" y="321"/>
                    <a:pt x="362" y="324"/>
                  </a:cubicBezTo>
                  <a:lnTo>
                    <a:pt x="354" y="366"/>
                  </a:lnTo>
                  <a:cubicBezTo>
                    <a:pt x="350" y="367"/>
                    <a:pt x="347" y="367"/>
                    <a:pt x="345" y="369"/>
                  </a:cubicBezTo>
                  <a:lnTo>
                    <a:pt x="316" y="346"/>
                  </a:lnTo>
                  <a:cubicBezTo>
                    <a:pt x="313" y="345"/>
                    <a:pt x="310" y="345"/>
                    <a:pt x="308" y="346"/>
                  </a:cubicBezTo>
                  <a:lnTo>
                    <a:pt x="289" y="363"/>
                  </a:lnTo>
                  <a:cubicBezTo>
                    <a:pt x="287" y="364"/>
                    <a:pt x="287" y="367"/>
                    <a:pt x="287" y="370"/>
                  </a:cubicBezTo>
                  <a:lnTo>
                    <a:pt x="304" y="403"/>
                  </a:lnTo>
                  <a:cubicBezTo>
                    <a:pt x="302" y="406"/>
                    <a:pt x="301" y="409"/>
                    <a:pt x="299" y="412"/>
                  </a:cubicBezTo>
                  <a:lnTo>
                    <a:pt x="263" y="414"/>
                  </a:lnTo>
                  <a:cubicBezTo>
                    <a:pt x="259" y="414"/>
                    <a:pt x="257" y="417"/>
                    <a:pt x="256" y="418"/>
                  </a:cubicBezTo>
                  <a:lnTo>
                    <a:pt x="252" y="442"/>
                  </a:lnTo>
                  <a:cubicBezTo>
                    <a:pt x="252" y="445"/>
                    <a:pt x="253" y="448"/>
                    <a:pt x="256" y="450"/>
                  </a:cubicBezTo>
                  <a:lnTo>
                    <a:pt x="290" y="465"/>
                  </a:lnTo>
                  <a:cubicBezTo>
                    <a:pt x="290" y="468"/>
                    <a:pt x="290" y="470"/>
                    <a:pt x="292" y="475"/>
                  </a:cubicBezTo>
                  <a:lnTo>
                    <a:pt x="265" y="499"/>
                  </a:lnTo>
                  <a:cubicBezTo>
                    <a:pt x="263" y="500"/>
                    <a:pt x="262" y="505"/>
                    <a:pt x="263" y="508"/>
                  </a:cubicBezTo>
                  <a:lnTo>
                    <a:pt x="275" y="529"/>
                  </a:lnTo>
                  <a:cubicBezTo>
                    <a:pt x="277" y="530"/>
                    <a:pt x="280" y="532"/>
                    <a:pt x="283" y="530"/>
                  </a:cubicBezTo>
                  <a:lnTo>
                    <a:pt x="319" y="520"/>
                  </a:lnTo>
                  <a:cubicBezTo>
                    <a:pt x="322" y="523"/>
                    <a:pt x="323" y="524"/>
                    <a:pt x="326" y="527"/>
                  </a:cubicBezTo>
                  <a:lnTo>
                    <a:pt x="322" y="563"/>
                  </a:lnTo>
                  <a:cubicBezTo>
                    <a:pt x="322" y="566"/>
                    <a:pt x="323" y="569"/>
                    <a:pt x="326" y="569"/>
                  </a:cubicBezTo>
                  <a:lnTo>
                    <a:pt x="348" y="578"/>
                  </a:lnTo>
                  <a:cubicBezTo>
                    <a:pt x="351" y="578"/>
                    <a:pt x="354" y="578"/>
                    <a:pt x="356" y="577"/>
                  </a:cubicBezTo>
                  <a:lnTo>
                    <a:pt x="375" y="544"/>
                  </a:lnTo>
                  <a:cubicBezTo>
                    <a:pt x="377" y="544"/>
                    <a:pt x="380" y="545"/>
                    <a:pt x="381" y="545"/>
                  </a:cubicBezTo>
                  <a:cubicBezTo>
                    <a:pt x="383" y="545"/>
                    <a:pt x="384" y="544"/>
                    <a:pt x="386" y="544"/>
                  </a:cubicBezTo>
                  <a:lnTo>
                    <a:pt x="405" y="577"/>
                  </a:lnTo>
                  <a:cubicBezTo>
                    <a:pt x="408" y="578"/>
                    <a:pt x="411" y="578"/>
                    <a:pt x="414" y="578"/>
                  </a:cubicBezTo>
                  <a:lnTo>
                    <a:pt x="436" y="569"/>
                  </a:lnTo>
                  <a:cubicBezTo>
                    <a:pt x="439" y="569"/>
                    <a:pt x="441" y="566"/>
                    <a:pt x="441" y="563"/>
                  </a:cubicBezTo>
                  <a:lnTo>
                    <a:pt x="436" y="527"/>
                  </a:lnTo>
                  <a:cubicBezTo>
                    <a:pt x="438" y="524"/>
                    <a:pt x="441" y="523"/>
                    <a:pt x="444" y="520"/>
                  </a:cubicBezTo>
                  <a:lnTo>
                    <a:pt x="480" y="530"/>
                  </a:lnTo>
                  <a:cubicBezTo>
                    <a:pt x="481" y="532"/>
                    <a:pt x="486" y="530"/>
                    <a:pt x="486" y="529"/>
                  </a:cubicBezTo>
                  <a:lnTo>
                    <a:pt x="499" y="508"/>
                  </a:lnTo>
                  <a:cubicBezTo>
                    <a:pt x="501" y="505"/>
                    <a:pt x="499" y="500"/>
                    <a:pt x="498" y="499"/>
                  </a:cubicBezTo>
                  <a:lnTo>
                    <a:pt x="471" y="475"/>
                  </a:lnTo>
                  <a:cubicBezTo>
                    <a:pt x="471" y="470"/>
                    <a:pt x="471" y="468"/>
                    <a:pt x="472" y="465"/>
                  </a:cubicBezTo>
                  <a:lnTo>
                    <a:pt x="507" y="450"/>
                  </a:lnTo>
                  <a:cubicBezTo>
                    <a:pt x="510" y="448"/>
                    <a:pt x="510" y="446"/>
                    <a:pt x="510" y="442"/>
                  </a:cubicBezTo>
                  <a:moveTo>
                    <a:pt x="0" y="0"/>
                  </a:moveTo>
                  <a:lnTo>
                    <a:pt x="859" y="0"/>
                  </a:lnTo>
                  <a:lnTo>
                    <a:pt x="859" y="86"/>
                  </a:lnTo>
                  <a:lnTo>
                    <a:pt x="0" y="86"/>
                  </a:lnTo>
                  <a:lnTo>
                    <a:pt x="0" y="0"/>
                  </a:lnTo>
                  <a:close/>
                  <a:moveTo>
                    <a:pt x="0" y="130"/>
                  </a:moveTo>
                  <a:lnTo>
                    <a:pt x="859" y="130"/>
                  </a:lnTo>
                  <a:lnTo>
                    <a:pt x="859" y="732"/>
                  </a:lnTo>
                  <a:lnTo>
                    <a:pt x="0" y="732"/>
                  </a:lnTo>
                  <a:lnTo>
                    <a:pt x="0" y="130"/>
                  </a:lnTo>
                  <a:close/>
                  <a:moveTo>
                    <a:pt x="41" y="689"/>
                  </a:moveTo>
                  <a:lnTo>
                    <a:pt x="815" y="689"/>
                  </a:lnTo>
                  <a:lnTo>
                    <a:pt x="815" y="173"/>
                  </a:lnTo>
                  <a:lnTo>
                    <a:pt x="41" y="173"/>
                  </a:lnTo>
                  <a:lnTo>
                    <a:pt x="41" y="689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2" name="Oval 307"/>
            <p:cNvSpPr>
              <a:spLocks noChangeArrowheads="1"/>
            </p:cNvSpPr>
            <p:nvPr/>
          </p:nvSpPr>
          <p:spPr bwMode="auto">
            <a:xfrm>
              <a:off x="9787948" y="1068611"/>
              <a:ext cx="620713" cy="622300"/>
            </a:xfrm>
            <a:prstGeom prst="ellipse">
              <a:avLst/>
            </a:pr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3" name="Oval 307"/>
            <p:cNvSpPr>
              <a:spLocks noChangeArrowheads="1"/>
            </p:cNvSpPr>
            <p:nvPr/>
          </p:nvSpPr>
          <p:spPr bwMode="auto">
            <a:xfrm>
              <a:off x="9772717" y="1048440"/>
              <a:ext cx="620713" cy="622300"/>
            </a:xfrm>
            <a:prstGeom prst="ellipse">
              <a:avLst/>
            </a:prstGeom>
            <a:solidFill>
              <a:srgbClr val="0070C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76" name="Group 175"/>
          <p:cNvGrpSpPr/>
          <p:nvPr/>
        </p:nvGrpSpPr>
        <p:grpSpPr>
          <a:xfrm>
            <a:off x="10249520" y="2112224"/>
            <a:ext cx="623710" cy="636818"/>
            <a:chOff x="10329989" y="2755390"/>
            <a:chExt cx="469845" cy="463000"/>
          </a:xfrm>
        </p:grpSpPr>
        <p:sp>
          <p:nvSpPr>
            <p:cNvPr id="178" name="Oval 309"/>
            <p:cNvSpPr>
              <a:spLocks noChangeArrowheads="1"/>
            </p:cNvSpPr>
            <p:nvPr/>
          </p:nvSpPr>
          <p:spPr bwMode="auto">
            <a:xfrm>
              <a:off x="10385496" y="2804052"/>
              <a:ext cx="414338" cy="414338"/>
            </a:xfrm>
            <a:prstGeom prst="ellipse">
              <a:avLst/>
            </a:pr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9" name="Oval 310"/>
            <p:cNvSpPr>
              <a:spLocks noChangeArrowheads="1"/>
            </p:cNvSpPr>
            <p:nvPr/>
          </p:nvSpPr>
          <p:spPr bwMode="auto">
            <a:xfrm>
              <a:off x="10329989" y="2755390"/>
              <a:ext cx="444445" cy="437601"/>
            </a:xfrm>
            <a:prstGeom prst="ellipse">
              <a:avLst/>
            </a:prstGeom>
            <a:solidFill>
              <a:srgbClr val="E8112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80" name="Freeform 179"/>
          <p:cNvSpPr/>
          <p:nvPr/>
        </p:nvSpPr>
        <p:spPr>
          <a:xfrm>
            <a:off x="9081865" y="2538136"/>
            <a:ext cx="635618" cy="612956"/>
          </a:xfrm>
          <a:custGeom>
            <a:avLst/>
            <a:gdLst>
              <a:gd name="connsiteX0" fmla="*/ 147901 w 547492"/>
              <a:gd name="connsiteY0" fmla="*/ 159 h 547027"/>
              <a:gd name="connsiteX1" fmla="*/ 164790 w 547492"/>
              <a:gd name="connsiteY1" fmla="*/ 17385 h 547027"/>
              <a:gd name="connsiteX2" fmla="*/ 257543 w 547492"/>
              <a:gd name="connsiteY2" fmla="*/ 261873 h 547027"/>
              <a:gd name="connsiteX3" fmla="*/ 531263 w 547492"/>
              <a:gd name="connsiteY3" fmla="*/ 383096 h 547027"/>
              <a:gd name="connsiteX4" fmla="*/ 533050 w 547492"/>
              <a:gd name="connsiteY4" fmla="*/ 419093 h 547027"/>
              <a:gd name="connsiteX5" fmla="*/ 234902 w 547492"/>
              <a:gd name="connsiteY5" fmla="*/ 291210 h 547027"/>
              <a:gd name="connsiteX6" fmla="*/ 130118 w 547492"/>
              <a:gd name="connsiteY6" fmla="*/ 16219 h 547027"/>
              <a:gd name="connsiteX7" fmla="*/ 147901 w 547492"/>
              <a:gd name="connsiteY7" fmla="*/ 159 h 547027"/>
              <a:gd name="connsiteX8" fmla="*/ 258593 w 547492"/>
              <a:gd name="connsiteY8" fmla="*/ 83 h 547027"/>
              <a:gd name="connsiteX9" fmla="*/ 276870 w 547492"/>
              <a:gd name="connsiteY9" fmla="*/ 19473 h 547027"/>
              <a:gd name="connsiteX10" fmla="*/ 342477 w 547492"/>
              <a:gd name="connsiteY10" fmla="*/ 185830 h 547027"/>
              <a:gd name="connsiteX11" fmla="*/ 529533 w 547492"/>
              <a:gd name="connsiteY11" fmla="*/ 271534 h 547027"/>
              <a:gd name="connsiteX12" fmla="*/ 529010 w 547492"/>
              <a:gd name="connsiteY12" fmla="*/ 308769 h 547027"/>
              <a:gd name="connsiteX13" fmla="*/ 319908 w 547492"/>
              <a:gd name="connsiteY13" fmla="*/ 218161 h 547027"/>
              <a:gd name="connsiteX14" fmla="*/ 241025 w 547492"/>
              <a:gd name="connsiteY14" fmla="*/ 18615 h 547027"/>
              <a:gd name="connsiteX15" fmla="*/ 258593 w 547492"/>
              <a:gd name="connsiteY15" fmla="*/ 83 h 547027"/>
              <a:gd name="connsiteX16" fmla="*/ 18843 w 547492"/>
              <a:gd name="connsiteY16" fmla="*/ 10 h 547027"/>
              <a:gd name="connsiteX17" fmla="*/ 37685 w 547492"/>
              <a:gd name="connsiteY17" fmla="*/ 16302 h 547027"/>
              <a:gd name="connsiteX18" fmla="*/ 164891 w 547492"/>
              <a:gd name="connsiteY18" fmla="*/ 345340 h 547027"/>
              <a:gd name="connsiteX19" fmla="*/ 531167 w 547492"/>
              <a:gd name="connsiteY19" fmla="*/ 510082 h 547027"/>
              <a:gd name="connsiteX20" fmla="*/ 528039 w 547492"/>
              <a:gd name="connsiteY20" fmla="*/ 547022 h 547027"/>
              <a:gd name="connsiteX21" fmla="*/ 139867 w 547492"/>
              <a:gd name="connsiteY21" fmla="*/ 375130 h 547027"/>
              <a:gd name="connsiteX22" fmla="*/ 0 w 547492"/>
              <a:gd name="connsiteY22" fmla="*/ 15557 h 547027"/>
              <a:gd name="connsiteX23" fmla="*/ 18843 w 547492"/>
              <a:gd name="connsiteY23" fmla="*/ 10 h 547027"/>
              <a:gd name="connsiteX24" fmla="*/ 361357 w 547492"/>
              <a:gd name="connsiteY24" fmla="*/ 3 h 547027"/>
              <a:gd name="connsiteX25" fmla="*/ 379427 w 547492"/>
              <a:gd name="connsiteY25" fmla="*/ 22811 h 547027"/>
              <a:gd name="connsiteX26" fmla="*/ 416799 w 547492"/>
              <a:gd name="connsiteY26" fmla="*/ 121134 h 547027"/>
              <a:gd name="connsiteX27" fmla="*/ 530986 w 547492"/>
              <a:gd name="connsiteY27" fmla="*/ 167238 h 547027"/>
              <a:gd name="connsiteX28" fmla="*/ 528863 w 547492"/>
              <a:gd name="connsiteY28" fmla="*/ 205554 h 547027"/>
              <a:gd name="connsiteX29" fmla="*/ 395749 w 547492"/>
              <a:gd name="connsiteY29" fmla="*/ 150171 h 547027"/>
              <a:gd name="connsiteX30" fmla="*/ 342870 w 547492"/>
              <a:gd name="connsiteY30" fmla="*/ 38961 h 547027"/>
              <a:gd name="connsiteX31" fmla="*/ 343296 w 547492"/>
              <a:gd name="connsiteY31" fmla="*/ 21634 h 547027"/>
              <a:gd name="connsiteX32" fmla="*/ 361357 w 547492"/>
              <a:gd name="connsiteY32" fmla="*/ 3 h 5470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547492" h="547027">
                <a:moveTo>
                  <a:pt x="147901" y="159"/>
                </a:moveTo>
                <a:cubicBezTo>
                  <a:pt x="156233" y="1247"/>
                  <a:pt x="164417" y="7883"/>
                  <a:pt x="164790" y="17385"/>
                </a:cubicBezTo>
                <a:cubicBezTo>
                  <a:pt x="163504" y="123250"/>
                  <a:pt x="210481" y="208637"/>
                  <a:pt x="257543" y="261873"/>
                </a:cubicBezTo>
                <a:cubicBezTo>
                  <a:pt x="329801" y="345790"/>
                  <a:pt x="450493" y="385299"/>
                  <a:pt x="531263" y="383096"/>
                </a:cubicBezTo>
                <a:cubicBezTo>
                  <a:pt x="554755" y="384136"/>
                  <a:pt x="550415" y="419245"/>
                  <a:pt x="533050" y="419093"/>
                </a:cubicBezTo>
                <a:cubicBezTo>
                  <a:pt x="450691" y="419472"/>
                  <a:pt x="338455" y="398909"/>
                  <a:pt x="234902" y="291210"/>
                </a:cubicBezTo>
                <a:cubicBezTo>
                  <a:pt x="193363" y="241274"/>
                  <a:pt x="128927" y="167539"/>
                  <a:pt x="130118" y="16219"/>
                </a:cubicBezTo>
                <a:cubicBezTo>
                  <a:pt x="131087" y="3530"/>
                  <a:pt x="139569" y="-930"/>
                  <a:pt x="147901" y="159"/>
                </a:cubicBezTo>
                <a:close/>
                <a:moveTo>
                  <a:pt x="258593" y="83"/>
                </a:moveTo>
                <a:cubicBezTo>
                  <a:pt x="267391" y="-753"/>
                  <a:pt x="276308" y="4730"/>
                  <a:pt x="276870" y="19473"/>
                </a:cubicBezTo>
                <a:cubicBezTo>
                  <a:pt x="277152" y="95057"/>
                  <a:pt x="309784" y="144239"/>
                  <a:pt x="342477" y="185830"/>
                </a:cubicBezTo>
                <a:cubicBezTo>
                  <a:pt x="395970" y="243463"/>
                  <a:pt x="472402" y="273156"/>
                  <a:pt x="529533" y="271534"/>
                </a:cubicBezTo>
                <a:cubicBezTo>
                  <a:pt x="554491" y="271108"/>
                  <a:pt x="552612" y="307689"/>
                  <a:pt x="529010" y="308769"/>
                </a:cubicBezTo>
                <a:cubicBezTo>
                  <a:pt x="463605" y="309049"/>
                  <a:pt x="394346" y="293904"/>
                  <a:pt x="319908" y="218161"/>
                </a:cubicBezTo>
                <a:cubicBezTo>
                  <a:pt x="290526" y="181384"/>
                  <a:pt x="240182" y="130058"/>
                  <a:pt x="241025" y="18615"/>
                </a:cubicBezTo>
                <a:cubicBezTo>
                  <a:pt x="241115" y="8077"/>
                  <a:pt x="249795" y="920"/>
                  <a:pt x="258593" y="83"/>
                </a:cubicBezTo>
                <a:close/>
                <a:moveTo>
                  <a:pt x="18843" y="10"/>
                </a:moveTo>
                <a:cubicBezTo>
                  <a:pt x="28214" y="265"/>
                  <a:pt x="37586" y="5826"/>
                  <a:pt x="37685" y="16302"/>
                </a:cubicBezTo>
                <a:cubicBezTo>
                  <a:pt x="35997" y="154729"/>
                  <a:pt x="103125" y="275729"/>
                  <a:pt x="164891" y="345340"/>
                </a:cubicBezTo>
                <a:cubicBezTo>
                  <a:pt x="259725" y="455069"/>
                  <a:pt x="425162" y="512962"/>
                  <a:pt x="531167" y="510082"/>
                </a:cubicBezTo>
                <a:cubicBezTo>
                  <a:pt x="555744" y="509883"/>
                  <a:pt x="550829" y="547221"/>
                  <a:pt x="528039" y="547022"/>
                </a:cubicBezTo>
                <a:cubicBezTo>
                  <a:pt x="419949" y="547519"/>
                  <a:pt x="273429" y="516735"/>
                  <a:pt x="139867" y="375130"/>
                </a:cubicBezTo>
                <a:cubicBezTo>
                  <a:pt x="85350" y="312173"/>
                  <a:pt x="0" y="200955"/>
                  <a:pt x="0" y="15557"/>
                </a:cubicBezTo>
                <a:cubicBezTo>
                  <a:pt x="99" y="4808"/>
                  <a:pt x="9471" y="-244"/>
                  <a:pt x="18843" y="10"/>
                </a:cubicBezTo>
                <a:close/>
                <a:moveTo>
                  <a:pt x="361357" y="3"/>
                </a:moveTo>
                <a:cubicBezTo>
                  <a:pt x="370360" y="-117"/>
                  <a:pt x="379364" y="7170"/>
                  <a:pt x="379427" y="22811"/>
                </a:cubicBezTo>
                <a:cubicBezTo>
                  <a:pt x="379608" y="73981"/>
                  <a:pt x="395801" y="92977"/>
                  <a:pt x="416799" y="121134"/>
                </a:cubicBezTo>
                <a:cubicBezTo>
                  <a:pt x="452945" y="158363"/>
                  <a:pt x="498462" y="168336"/>
                  <a:pt x="530986" y="167238"/>
                </a:cubicBezTo>
                <a:cubicBezTo>
                  <a:pt x="549400" y="166950"/>
                  <a:pt x="557131" y="203036"/>
                  <a:pt x="528863" y="205554"/>
                </a:cubicBezTo>
                <a:cubicBezTo>
                  <a:pt x="486854" y="205743"/>
                  <a:pt x="443561" y="201449"/>
                  <a:pt x="395749" y="150171"/>
                </a:cubicBezTo>
                <a:cubicBezTo>
                  <a:pt x="351991" y="102452"/>
                  <a:pt x="343809" y="62263"/>
                  <a:pt x="342870" y="38961"/>
                </a:cubicBezTo>
                <a:cubicBezTo>
                  <a:pt x="342557" y="31194"/>
                  <a:pt x="343049" y="25303"/>
                  <a:pt x="343296" y="21634"/>
                </a:cubicBezTo>
                <a:cubicBezTo>
                  <a:pt x="343354" y="7649"/>
                  <a:pt x="352355" y="122"/>
                  <a:pt x="361357" y="3"/>
                </a:cubicBezTo>
                <a:close/>
              </a:path>
            </a:pathLst>
          </a:custGeom>
          <a:solidFill>
            <a:srgbClr val="EB3C00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91440" rIns="91440" bIns="9144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3231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181" name="Group 180"/>
          <p:cNvGrpSpPr/>
          <p:nvPr/>
        </p:nvGrpSpPr>
        <p:grpSpPr>
          <a:xfrm>
            <a:off x="8328591" y="4246212"/>
            <a:ext cx="649980" cy="649980"/>
            <a:chOff x="9250745" y="2863148"/>
            <a:chExt cx="717419" cy="717419"/>
          </a:xfrm>
        </p:grpSpPr>
        <p:sp>
          <p:nvSpPr>
            <p:cNvPr id="182" name="Oval 312"/>
            <p:cNvSpPr>
              <a:spLocks noChangeArrowheads="1"/>
            </p:cNvSpPr>
            <p:nvPr/>
          </p:nvSpPr>
          <p:spPr bwMode="auto">
            <a:xfrm>
              <a:off x="9250745" y="2863148"/>
              <a:ext cx="717419" cy="717419"/>
            </a:xfrm>
            <a:prstGeom prst="ellipse">
              <a:avLst/>
            </a:prstGeom>
            <a:solidFill>
              <a:srgbClr val="7FBA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183" name="Group 182"/>
            <p:cNvGrpSpPr/>
            <p:nvPr/>
          </p:nvGrpSpPr>
          <p:grpSpPr bwMode="black">
            <a:xfrm>
              <a:off x="9407585" y="3106850"/>
              <a:ext cx="403737" cy="250377"/>
              <a:chOff x="10387012" y="4103350"/>
              <a:chExt cx="995920" cy="725626"/>
            </a:xfrm>
            <a:solidFill>
              <a:srgbClr val="FFFFFF"/>
            </a:solidFill>
          </p:grpSpPr>
          <p:sp>
            <p:nvSpPr>
              <p:cNvPr id="184" name="Freeform 26"/>
              <p:cNvSpPr>
                <a:spLocks/>
              </p:cNvSpPr>
              <p:nvPr/>
            </p:nvSpPr>
            <p:spPr bwMode="black">
              <a:xfrm>
                <a:off x="10506081" y="4218399"/>
                <a:ext cx="706438" cy="599679"/>
              </a:xfrm>
              <a:custGeom>
                <a:avLst/>
                <a:gdLst>
                  <a:gd name="T0" fmla="*/ 183 w 188"/>
                  <a:gd name="T1" fmla="*/ 84 h 137"/>
                  <a:gd name="T2" fmla="*/ 104 w 188"/>
                  <a:gd name="T3" fmla="*/ 27 h 137"/>
                  <a:gd name="T4" fmla="*/ 86 w 188"/>
                  <a:gd name="T5" fmla="*/ 19 h 137"/>
                  <a:gd name="T6" fmla="*/ 59 w 188"/>
                  <a:gd name="T7" fmla="*/ 34 h 137"/>
                  <a:gd name="T8" fmla="*/ 56 w 188"/>
                  <a:gd name="T9" fmla="*/ 36 h 137"/>
                  <a:gd name="T10" fmla="*/ 43 w 188"/>
                  <a:gd name="T11" fmla="*/ 38 h 137"/>
                  <a:gd name="T12" fmla="*/ 43 w 188"/>
                  <a:gd name="T13" fmla="*/ 38 h 137"/>
                  <a:gd name="T14" fmla="*/ 26 w 188"/>
                  <a:gd name="T15" fmla="*/ 27 h 137"/>
                  <a:gd name="T16" fmla="*/ 24 w 188"/>
                  <a:gd name="T17" fmla="*/ 14 h 137"/>
                  <a:gd name="T18" fmla="*/ 31 w 188"/>
                  <a:gd name="T19" fmla="*/ 0 h 137"/>
                  <a:gd name="T20" fmla="*/ 21 w 188"/>
                  <a:gd name="T21" fmla="*/ 0 h 137"/>
                  <a:gd name="T22" fmla="*/ 1 w 188"/>
                  <a:gd name="T23" fmla="*/ 79 h 137"/>
                  <a:gd name="T24" fmla="*/ 4 w 188"/>
                  <a:gd name="T25" fmla="*/ 80 h 137"/>
                  <a:gd name="T26" fmla="*/ 16 w 188"/>
                  <a:gd name="T27" fmla="*/ 70 h 137"/>
                  <a:gd name="T28" fmla="*/ 22 w 188"/>
                  <a:gd name="T29" fmla="*/ 70 h 137"/>
                  <a:gd name="T30" fmla="*/ 32 w 188"/>
                  <a:gd name="T31" fmla="*/ 74 h 137"/>
                  <a:gd name="T32" fmla="*/ 43 w 188"/>
                  <a:gd name="T33" fmla="*/ 72 h 137"/>
                  <a:gd name="T34" fmla="*/ 44 w 188"/>
                  <a:gd name="T35" fmla="*/ 72 h 137"/>
                  <a:gd name="T36" fmla="*/ 53 w 188"/>
                  <a:gd name="T37" fmla="*/ 76 h 137"/>
                  <a:gd name="T38" fmla="*/ 65 w 188"/>
                  <a:gd name="T39" fmla="*/ 74 h 137"/>
                  <a:gd name="T40" fmla="*/ 67 w 188"/>
                  <a:gd name="T41" fmla="*/ 74 h 137"/>
                  <a:gd name="T42" fmla="*/ 80 w 188"/>
                  <a:gd name="T43" fmla="*/ 88 h 137"/>
                  <a:gd name="T44" fmla="*/ 83 w 188"/>
                  <a:gd name="T45" fmla="*/ 88 h 137"/>
                  <a:gd name="T46" fmla="*/ 85 w 188"/>
                  <a:gd name="T47" fmla="*/ 89 h 137"/>
                  <a:gd name="T48" fmla="*/ 99 w 188"/>
                  <a:gd name="T49" fmla="*/ 108 h 137"/>
                  <a:gd name="T50" fmla="*/ 99 w 188"/>
                  <a:gd name="T51" fmla="*/ 110 h 137"/>
                  <a:gd name="T52" fmla="*/ 96 w 188"/>
                  <a:gd name="T53" fmla="*/ 124 h 137"/>
                  <a:gd name="T54" fmla="*/ 114 w 188"/>
                  <a:gd name="T55" fmla="*/ 137 h 137"/>
                  <a:gd name="T56" fmla="*/ 123 w 188"/>
                  <a:gd name="T57" fmla="*/ 132 h 137"/>
                  <a:gd name="T58" fmla="*/ 124 w 188"/>
                  <a:gd name="T59" fmla="*/ 124 h 137"/>
                  <a:gd name="T60" fmla="*/ 108 w 188"/>
                  <a:gd name="T61" fmla="*/ 112 h 137"/>
                  <a:gd name="T62" fmla="*/ 107 w 188"/>
                  <a:gd name="T63" fmla="*/ 109 h 137"/>
                  <a:gd name="T64" fmla="*/ 110 w 188"/>
                  <a:gd name="T65" fmla="*/ 109 h 137"/>
                  <a:gd name="T66" fmla="*/ 136 w 188"/>
                  <a:gd name="T67" fmla="*/ 127 h 137"/>
                  <a:gd name="T68" fmla="*/ 145 w 188"/>
                  <a:gd name="T69" fmla="*/ 123 h 137"/>
                  <a:gd name="T70" fmla="*/ 147 w 188"/>
                  <a:gd name="T71" fmla="*/ 114 h 137"/>
                  <a:gd name="T72" fmla="*/ 117 w 188"/>
                  <a:gd name="T73" fmla="*/ 93 h 137"/>
                  <a:gd name="T74" fmla="*/ 117 w 188"/>
                  <a:gd name="T75" fmla="*/ 90 h 137"/>
                  <a:gd name="T76" fmla="*/ 120 w 188"/>
                  <a:gd name="T77" fmla="*/ 89 h 137"/>
                  <a:gd name="T78" fmla="*/ 156 w 188"/>
                  <a:gd name="T79" fmla="*/ 116 h 137"/>
                  <a:gd name="T80" fmla="*/ 165 w 188"/>
                  <a:gd name="T81" fmla="*/ 111 h 137"/>
                  <a:gd name="T82" fmla="*/ 167 w 188"/>
                  <a:gd name="T83" fmla="*/ 102 h 137"/>
                  <a:gd name="T84" fmla="*/ 137 w 188"/>
                  <a:gd name="T85" fmla="*/ 81 h 137"/>
                  <a:gd name="T86" fmla="*/ 136 w 188"/>
                  <a:gd name="T87" fmla="*/ 78 h 137"/>
                  <a:gd name="T88" fmla="*/ 139 w 188"/>
                  <a:gd name="T89" fmla="*/ 77 h 137"/>
                  <a:gd name="T90" fmla="*/ 176 w 188"/>
                  <a:gd name="T91" fmla="*/ 104 h 137"/>
                  <a:gd name="T92" fmla="*/ 185 w 188"/>
                  <a:gd name="T93" fmla="*/ 99 h 137"/>
                  <a:gd name="T94" fmla="*/ 183 w 188"/>
                  <a:gd name="T95" fmla="*/ 84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88" h="137">
                    <a:moveTo>
                      <a:pt x="183" y="84"/>
                    </a:moveTo>
                    <a:cubicBezTo>
                      <a:pt x="104" y="27"/>
                      <a:pt x="104" y="27"/>
                      <a:pt x="104" y="27"/>
                    </a:cubicBezTo>
                    <a:cubicBezTo>
                      <a:pt x="86" y="19"/>
                      <a:pt x="86" y="19"/>
                      <a:pt x="86" y="19"/>
                    </a:cubicBezTo>
                    <a:cubicBezTo>
                      <a:pt x="59" y="34"/>
                      <a:pt x="59" y="34"/>
                      <a:pt x="59" y="34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2" y="38"/>
                      <a:pt x="47" y="39"/>
                      <a:pt x="43" y="38"/>
                    </a:cubicBezTo>
                    <a:cubicBezTo>
                      <a:pt x="43" y="38"/>
                      <a:pt x="43" y="38"/>
                      <a:pt x="43" y="38"/>
                    </a:cubicBezTo>
                    <a:cubicBezTo>
                      <a:pt x="36" y="38"/>
                      <a:pt x="30" y="34"/>
                      <a:pt x="26" y="27"/>
                    </a:cubicBezTo>
                    <a:cubicBezTo>
                      <a:pt x="24" y="23"/>
                      <a:pt x="23" y="19"/>
                      <a:pt x="24" y="14"/>
                    </a:cubicBezTo>
                    <a:cubicBezTo>
                      <a:pt x="24" y="9"/>
                      <a:pt x="27" y="4"/>
                      <a:pt x="31" y="0"/>
                    </a:cubicBezTo>
                    <a:cubicBezTo>
                      <a:pt x="25" y="0"/>
                      <a:pt x="21" y="0"/>
                      <a:pt x="21" y="0"/>
                    </a:cubicBezTo>
                    <a:cubicBezTo>
                      <a:pt x="21" y="0"/>
                      <a:pt x="0" y="40"/>
                      <a:pt x="1" y="79"/>
                    </a:cubicBezTo>
                    <a:cubicBezTo>
                      <a:pt x="4" y="80"/>
                      <a:pt x="4" y="80"/>
                      <a:pt x="4" y="80"/>
                    </a:cubicBezTo>
                    <a:cubicBezTo>
                      <a:pt x="6" y="75"/>
                      <a:pt x="10" y="72"/>
                      <a:pt x="16" y="70"/>
                    </a:cubicBezTo>
                    <a:cubicBezTo>
                      <a:pt x="18" y="70"/>
                      <a:pt x="20" y="70"/>
                      <a:pt x="22" y="70"/>
                    </a:cubicBezTo>
                    <a:cubicBezTo>
                      <a:pt x="25" y="70"/>
                      <a:pt x="29" y="72"/>
                      <a:pt x="32" y="74"/>
                    </a:cubicBezTo>
                    <a:cubicBezTo>
                      <a:pt x="35" y="72"/>
                      <a:pt x="39" y="71"/>
                      <a:pt x="43" y="72"/>
                    </a:cubicBezTo>
                    <a:cubicBezTo>
                      <a:pt x="43" y="72"/>
                      <a:pt x="44" y="72"/>
                      <a:pt x="44" y="72"/>
                    </a:cubicBezTo>
                    <a:cubicBezTo>
                      <a:pt x="48" y="72"/>
                      <a:pt x="51" y="74"/>
                      <a:pt x="53" y="76"/>
                    </a:cubicBezTo>
                    <a:cubicBezTo>
                      <a:pt x="56" y="74"/>
                      <a:pt x="60" y="73"/>
                      <a:pt x="65" y="74"/>
                    </a:cubicBezTo>
                    <a:cubicBezTo>
                      <a:pt x="65" y="74"/>
                      <a:pt x="66" y="74"/>
                      <a:pt x="67" y="74"/>
                    </a:cubicBezTo>
                    <a:cubicBezTo>
                      <a:pt x="74" y="76"/>
                      <a:pt x="79" y="81"/>
                      <a:pt x="80" y="88"/>
                    </a:cubicBezTo>
                    <a:cubicBezTo>
                      <a:pt x="81" y="88"/>
                      <a:pt x="82" y="88"/>
                      <a:pt x="83" y="88"/>
                    </a:cubicBezTo>
                    <a:cubicBezTo>
                      <a:pt x="84" y="88"/>
                      <a:pt x="84" y="88"/>
                      <a:pt x="85" y="89"/>
                    </a:cubicBezTo>
                    <a:cubicBezTo>
                      <a:pt x="94" y="91"/>
                      <a:pt x="100" y="99"/>
                      <a:pt x="99" y="108"/>
                    </a:cubicBezTo>
                    <a:cubicBezTo>
                      <a:pt x="99" y="109"/>
                      <a:pt x="99" y="110"/>
                      <a:pt x="99" y="110"/>
                    </a:cubicBezTo>
                    <a:cubicBezTo>
                      <a:pt x="96" y="124"/>
                      <a:pt x="96" y="124"/>
                      <a:pt x="96" y="124"/>
                    </a:cubicBezTo>
                    <a:cubicBezTo>
                      <a:pt x="114" y="137"/>
                      <a:pt x="114" y="137"/>
                      <a:pt x="114" y="137"/>
                    </a:cubicBezTo>
                    <a:cubicBezTo>
                      <a:pt x="117" y="137"/>
                      <a:pt x="120" y="135"/>
                      <a:pt x="123" y="132"/>
                    </a:cubicBezTo>
                    <a:cubicBezTo>
                      <a:pt x="124" y="130"/>
                      <a:pt x="125" y="127"/>
                      <a:pt x="124" y="124"/>
                    </a:cubicBezTo>
                    <a:cubicBezTo>
                      <a:pt x="108" y="112"/>
                      <a:pt x="108" y="112"/>
                      <a:pt x="108" y="112"/>
                    </a:cubicBezTo>
                    <a:cubicBezTo>
                      <a:pt x="107" y="111"/>
                      <a:pt x="107" y="110"/>
                      <a:pt x="107" y="109"/>
                    </a:cubicBezTo>
                    <a:cubicBezTo>
                      <a:pt x="108" y="108"/>
                      <a:pt x="109" y="108"/>
                      <a:pt x="110" y="109"/>
                    </a:cubicBezTo>
                    <a:cubicBezTo>
                      <a:pt x="136" y="127"/>
                      <a:pt x="136" y="127"/>
                      <a:pt x="136" y="127"/>
                    </a:cubicBezTo>
                    <a:cubicBezTo>
                      <a:pt x="140" y="127"/>
                      <a:pt x="143" y="126"/>
                      <a:pt x="145" y="123"/>
                    </a:cubicBezTo>
                    <a:cubicBezTo>
                      <a:pt x="147" y="120"/>
                      <a:pt x="147" y="117"/>
                      <a:pt x="147" y="114"/>
                    </a:cubicBezTo>
                    <a:cubicBezTo>
                      <a:pt x="117" y="93"/>
                      <a:pt x="117" y="93"/>
                      <a:pt x="117" y="93"/>
                    </a:cubicBezTo>
                    <a:cubicBezTo>
                      <a:pt x="116" y="92"/>
                      <a:pt x="116" y="91"/>
                      <a:pt x="117" y="90"/>
                    </a:cubicBezTo>
                    <a:cubicBezTo>
                      <a:pt x="117" y="89"/>
                      <a:pt x="119" y="89"/>
                      <a:pt x="120" y="89"/>
                    </a:cubicBezTo>
                    <a:cubicBezTo>
                      <a:pt x="156" y="116"/>
                      <a:pt x="156" y="116"/>
                      <a:pt x="156" y="116"/>
                    </a:cubicBezTo>
                    <a:cubicBezTo>
                      <a:pt x="159" y="116"/>
                      <a:pt x="163" y="114"/>
                      <a:pt x="165" y="111"/>
                    </a:cubicBezTo>
                    <a:cubicBezTo>
                      <a:pt x="167" y="108"/>
                      <a:pt x="167" y="105"/>
                      <a:pt x="167" y="102"/>
                    </a:cubicBezTo>
                    <a:cubicBezTo>
                      <a:pt x="137" y="81"/>
                      <a:pt x="137" y="81"/>
                      <a:pt x="137" y="81"/>
                    </a:cubicBezTo>
                    <a:cubicBezTo>
                      <a:pt x="136" y="80"/>
                      <a:pt x="136" y="79"/>
                      <a:pt x="136" y="78"/>
                    </a:cubicBezTo>
                    <a:cubicBezTo>
                      <a:pt x="137" y="77"/>
                      <a:pt x="138" y="76"/>
                      <a:pt x="139" y="77"/>
                    </a:cubicBezTo>
                    <a:cubicBezTo>
                      <a:pt x="176" y="104"/>
                      <a:pt x="176" y="104"/>
                      <a:pt x="176" y="104"/>
                    </a:cubicBezTo>
                    <a:cubicBezTo>
                      <a:pt x="180" y="104"/>
                      <a:pt x="183" y="102"/>
                      <a:pt x="185" y="99"/>
                    </a:cubicBezTo>
                    <a:cubicBezTo>
                      <a:pt x="188" y="94"/>
                      <a:pt x="187" y="87"/>
                      <a:pt x="183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3231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 smtClean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5" name="Freeform 27"/>
              <p:cNvSpPr>
                <a:spLocks/>
              </p:cNvSpPr>
              <p:nvPr/>
            </p:nvSpPr>
            <p:spPr bwMode="black">
              <a:xfrm>
                <a:off x="10615616" y="4103350"/>
                <a:ext cx="657226" cy="452255"/>
              </a:xfrm>
              <a:custGeom>
                <a:avLst/>
                <a:gdLst>
                  <a:gd name="T0" fmla="*/ 127 w 175"/>
                  <a:gd name="T1" fmla="*/ 31 h 100"/>
                  <a:gd name="T2" fmla="*/ 119 w 175"/>
                  <a:gd name="T3" fmla="*/ 28 h 100"/>
                  <a:gd name="T4" fmla="*/ 62 w 175"/>
                  <a:gd name="T5" fmla="*/ 2 h 100"/>
                  <a:gd name="T6" fmla="*/ 49 w 175"/>
                  <a:gd name="T7" fmla="*/ 3 h 100"/>
                  <a:gd name="T8" fmla="*/ 26 w 175"/>
                  <a:gd name="T9" fmla="*/ 16 h 100"/>
                  <a:gd name="T10" fmla="*/ 9 w 175"/>
                  <a:gd name="T11" fmla="*/ 25 h 100"/>
                  <a:gd name="T12" fmla="*/ 4 w 175"/>
                  <a:gd name="T13" fmla="*/ 45 h 100"/>
                  <a:gd name="T14" fmla="*/ 15 w 175"/>
                  <a:gd name="T15" fmla="*/ 52 h 100"/>
                  <a:gd name="T16" fmla="*/ 23 w 175"/>
                  <a:gd name="T17" fmla="*/ 50 h 100"/>
                  <a:gd name="T18" fmla="*/ 23 w 175"/>
                  <a:gd name="T19" fmla="*/ 50 h 100"/>
                  <a:gd name="T20" fmla="*/ 57 w 175"/>
                  <a:gd name="T21" fmla="*/ 32 h 100"/>
                  <a:gd name="T22" fmla="*/ 79 w 175"/>
                  <a:gd name="T23" fmla="*/ 42 h 100"/>
                  <a:gd name="T24" fmla="*/ 109 w 175"/>
                  <a:gd name="T25" fmla="*/ 64 h 100"/>
                  <a:gd name="T26" fmla="*/ 158 w 175"/>
                  <a:gd name="T27" fmla="*/ 99 h 100"/>
                  <a:gd name="T28" fmla="*/ 159 w 175"/>
                  <a:gd name="T29" fmla="*/ 100 h 100"/>
                  <a:gd name="T30" fmla="*/ 173 w 175"/>
                  <a:gd name="T31" fmla="*/ 97 h 100"/>
                  <a:gd name="T32" fmla="*/ 154 w 175"/>
                  <a:gd name="T33" fmla="*/ 29 h 100"/>
                  <a:gd name="T34" fmla="*/ 127 w 175"/>
                  <a:gd name="T35" fmla="*/ 31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75" h="100">
                    <a:moveTo>
                      <a:pt x="127" y="31"/>
                    </a:moveTo>
                    <a:cubicBezTo>
                      <a:pt x="125" y="31"/>
                      <a:pt x="122" y="30"/>
                      <a:pt x="119" y="28"/>
                    </a:cubicBezTo>
                    <a:cubicBezTo>
                      <a:pt x="62" y="2"/>
                      <a:pt x="62" y="2"/>
                      <a:pt x="62" y="2"/>
                    </a:cubicBezTo>
                    <a:cubicBezTo>
                      <a:pt x="58" y="0"/>
                      <a:pt x="53" y="1"/>
                      <a:pt x="49" y="3"/>
                    </a:cubicBezTo>
                    <a:cubicBezTo>
                      <a:pt x="26" y="16"/>
                      <a:pt x="26" y="16"/>
                      <a:pt x="26" y="16"/>
                    </a:cubicBezTo>
                    <a:cubicBezTo>
                      <a:pt x="9" y="25"/>
                      <a:pt x="9" y="25"/>
                      <a:pt x="9" y="25"/>
                    </a:cubicBezTo>
                    <a:cubicBezTo>
                      <a:pt x="2" y="29"/>
                      <a:pt x="0" y="38"/>
                      <a:pt x="4" y="45"/>
                    </a:cubicBezTo>
                    <a:cubicBezTo>
                      <a:pt x="6" y="49"/>
                      <a:pt x="10" y="52"/>
                      <a:pt x="15" y="52"/>
                    </a:cubicBezTo>
                    <a:cubicBezTo>
                      <a:pt x="18" y="52"/>
                      <a:pt x="21" y="52"/>
                      <a:pt x="23" y="50"/>
                    </a:cubicBezTo>
                    <a:cubicBezTo>
                      <a:pt x="23" y="50"/>
                      <a:pt x="23" y="50"/>
                      <a:pt x="23" y="50"/>
                    </a:cubicBezTo>
                    <a:cubicBezTo>
                      <a:pt x="57" y="32"/>
                      <a:pt x="57" y="32"/>
                      <a:pt x="57" y="32"/>
                    </a:cubicBezTo>
                    <a:cubicBezTo>
                      <a:pt x="79" y="42"/>
                      <a:pt x="79" y="42"/>
                      <a:pt x="79" y="42"/>
                    </a:cubicBezTo>
                    <a:cubicBezTo>
                      <a:pt x="109" y="64"/>
                      <a:pt x="109" y="64"/>
                      <a:pt x="109" y="64"/>
                    </a:cubicBezTo>
                    <a:cubicBezTo>
                      <a:pt x="158" y="99"/>
                      <a:pt x="158" y="99"/>
                      <a:pt x="158" y="99"/>
                    </a:cubicBezTo>
                    <a:cubicBezTo>
                      <a:pt x="158" y="99"/>
                      <a:pt x="159" y="100"/>
                      <a:pt x="159" y="100"/>
                    </a:cubicBezTo>
                    <a:cubicBezTo>
                      <a:pt x="173" y="97"/>
                      <a:pt x="173" y="97"/>
                      <a:pt x="173" y="97"/>
                    </a:cubicBezTo>
                    <a:cubicBezTo>
                      <a:pt x="175" y="51"/>
                      <a:pt x="154" y="29"/>
                      <a:pt x="154" y="29"/>
                    </a:cubicBezTo>
                    <a:cubicBezTo>
                      <a:pt x="154" y="29"/>
                      <a:pt x="133" y="33"/>
                      <a:pt x="127" y="3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3231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 smtClean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6" name="Freeform 28"/>
              <p:cNvSpPr>
                <a:spLocks/>
              </p:cNvSpPr>
              <p:nvPr/>
            </p:nvSpPr>
            <p:spPr bwMode="black">
              <a:xfrm>
                <a:off x="10536238" y="4554567"/>
                <a:ext cx="319088" cy="274409"/>
              </a:xfrm>
              <a:custGeom>
                <a:avLst/>
                <a:gdLst>
                  <a:gd name="T0" fmla="*/ 76 w 85"/>
                  <a:gd name="T1" fmla="*/ 20 h 59"/>
                  <a:gd name="T2" fmla="*/ 64 w 85"/>
                  <a:gd name="T3" fmla="*/ 25 h 59"/>
                  <a:gd name="T4" fmla="*/ 65 w 85"/>
                  <a:gd name="T5" fmla="*/ 18 h 59"/>
                  <a:gd name="T6" fmla="*/ 57 w 85"/>
                  <a:gd name="T7" fmla="*/ 5 h 59"/>
                  <a:gd name="T8" fmla="*/ 44 w 85"/>
                  <a:gd name="T9" fmla="*/ 13 h 59"/>
                  <a:gd name="T10" fmla="*/ 44 w 85"/>
                  <a:gd name="T11" fmla="*/ 14 h 59"/>
                  <a:gd name="T12" fmla="*/ 35 w 85"/>
                  <a:gd name="T13" fmla="*/ 3 h 59"/>
                  <a:gd name="T14" fmla="*/ 23 w 85"/>
                  <a:gd name="T15" fmla="*/ 10 h 59"/>
                  <a:gd name="T16" fmla="*/ 23 w 85"/>
                  <a:gd name="T17" fmla="*/ 10 h 59"/>
                  <a:gd name="T18" fmla="*/ 10 w 85"/>
                  <a:gd name="T19" fmla="*/ 1 h 59"/>
                  <a:gd name="T20" fmla="*/ 1 w 85"/>
                  <a:gd name="T21" fmla="*/ 14 h 59"/>
                  <a:gd name="T22" fmla="*/ 4 w 85"/>
                  <a:gd name="T23" fmla="*/ 28 h 59"/>
                  <a:gd name="T24" fmla="*/ 14 w 85"/>
                  <a:gd name="T25" fmla="*/ 36 h 59"/>
                  <a:gd name="T26" fmla="*/ 17 w 85"/>
                  <a:gd name="T27" fmla="*/ 36 h 59"/>
                  <a:gd name="T28" fmla="*/ 19 w 85"/>
                  <a:gd name="T29" fmla="*/ 35 h 59"/>
                  <a:gd name="T30" fmla="*/ 27 w 85"/>
                  <a:gd name="T31" fmla="*/ 43 h 59"/>
                  <a:gd name="T32" fmla="*/ 28 w 85"/>
                  <a:gd name="T33" fmla="*/ 43 h 59"/>
                  <a:gd name="T34" fmla="*/ 39 w 85"/>
                  <a:gd name="T35" fmla="*/ 38 h 59"/>
                  <a:gd name="T36" fmla="*/ 38 w 85"/>
                  <a:gd name="T37" fmla="*/ 39 h 59"/>
                  <a:gd name="T38" fmla="*/ 47 w 85"/>
                  <a:gd name="T39" fmla="*/ 52 h 59"/>
                  <a:gd name="T40" fmla="*/ 48 w 85"/>
                  <a:gd name="T41" fmla="*/ 52 h 59"/>
                  <a:gd name="T42" fmla="*/ 58 w 85"/>
                  <a:gd name="T43" fmla="*/ 47 h 59"/>
                  <a:gd name="T44" fmla="*/ 67 w 85"/>
                  <a:gd name="T45" fmla="*/ 59 h 59"/>
                  <a:gd name="T46" fmla="*/ 68 w 85"/>
                  <a:gd name="T47" fmla="*/ 59 h 59"/>
                  <a:gd name="T48" fmla="*/ 80 w 85"/>
                  <a:gd name="T49" fmla="*/ 50 h 59"/>
                  <a:gd name="T50" fmla="*/ 84 w 85"/>
                  <a:gd name="T51" fmla="*/ 33 h 59"/>
                  <a:gd name="T52" fmla="*/ 76 w 85"/>
                  <a:gd name="T53" fmla="*/ 20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85" h="59">
                    <a:moveTo>
                      <a:pt x="76" y="20"/>
                    </a:moveTo>
                    <a:cubicBezTo>
                      <a:pt x="71" y="19"/>
                      <a:pt x="66" y="21"/>
                      <a:pt x="64" y="25"/>
                    </a:cubicBezTo>
                    <a:cubicBezTo>
                      <a:pt x="65" y="18"/>
                      <a:pt x="65" y="18"/>
                      <a:pt x="65" y="18"/>
                    </a:cubicBezTo>
                    <a:cubicBezTo>
                      <a:pt x="67" y="12"/>
                      <a:pt x="63" y="6"/>
                      <a:pt x="57" y="5"/>
                    </a:cubicBezTo>
                    <a:cubicBezTo>
                      <a:pt x="51" y="4"/>
                      <a:pt x="45" y="7"/>
                      <a:pt x="44" y="13"/>
                    </a:cubicBezTo>
                    <a:cubicBezTo>
                      <a:pt x="44" y="14"/>
                      <a:pt x="44" y="14"/>
                      <a:pt x="44" y="14"/>
                    </a:cubicBezTo>
                    <a:cubicBezTo>
                      <a:pt x="44" y="9"/>
                      <a:pt x="40" y="4"/>
                      <a:pt x="35" y="3"/>
                    </a:cubicBezTo>
                    <a:cubicBezTo>
                      <a:pt x="30" y="2"/>
                      <a:pt x="24" y="5"/>
                      <a:pt x="23" y="10"/>
                    </a:cubicBezTo>
                    <a:cubicBezTo>
                      <a:pt x="23" y="10"/>
                      <a:pt x="23" y="10"/>
                      <a:pt x="23" y="10"/>
                    </a:cubicBezTo>
                    <a:cubicBezTo>
                      <a:pt x="21" y="4"/>
                      <a:pt x="15" y="0"/>
                      <a:pt x="10" y="1"/>
                    </a:cubicBezTo>
                    <a:cubicBezTo>
                      <a:pt x="4" y="3"/>
                      <a:pt x="0" y="8"/>
                      <a:pt x="1" y="14"/>
                    </a:cubicBezTo>
                    <a:cubicBezTo>
                      <a:pt x="4" y="28"/>
                      <a:pt x="4" y="28"/>
                      <a:pt x="4" y="28"/>
                    </a:cubicBezTo>
                    <a:cubicBezTo>
                      <a:pt x="5" y="32"/>
                      <a:pt x="9" y="36"/>
                      <a:pt x="14" y="36"/>
                    </a:cubicBezTo>
                    <a:cubicBezTo>
                      <a:pt x="15" y="36"/>
                      <a:pt x="16" y="36"/>
                      <a:pt x="17" y="36"/>
                    </a:cubicBezTo>
                    <a:cubicBezTo>
                      <a:pt x="18" y="36"/>
                      <a:pt x="18" y="36"/>
                      <a:pt x="19" y="35"/>
                    </a:cubicBezTo>
                    <a:cubicBezTo>
                      <a:pt x="20" y="39"/>
                      <a:pt x="23" y="42"/>
                      <a:pt x="27" y="43"/>
                    </a:cubicBezTo>
                    <a:cubicBezTo>
                      <a:pt x="28" y="43"/>
                      <a:pt x="28" y="43"/>
                      <a:pt x="28" y="43"/>
                    </a:cubicBezTo>
                    <a:cubicBezTo>
                      <a:pt x="32" y="43"/>
                      <a:pt x="36" y="41"/>
                      <a:pt x="39" y="38"/>
                    </a:cubicBezTo>
                    <a:cubicBezTo>
                      <a:pt x="38" y="39"/>
                      <a:pt x="38" y="39"/>
                      <a:pt x="38" y="39"/>
                    </a:cubicBezTo>
                    <a:cubicBezTo>
                      <a:pt x="37" y="44"/>
                      <a:pt x="41" y="50"/>
                      <a:pt x="47" y="52"/>
                    </a:cubicBezTo>
                    <a:cubicBezTo>
                      <a:pt x="47" y="52"/>
                      <a:pt x="47" y="52"/>
                      <a:pt x="48" y="52"/>
                    </a:cubicBezTo>
                    <a:cubicBezTo>
                      <a:pt x="52" y="52"/>
                      <a:pt x="56" y="50"/>
                      <a:pt x="58" y="47"/>
                    </a:cubicBezTo>
                    <a:cubicBezTo>
                      <a:pt x="58" y="52"/>
                      <a:pt x="61" y="57"/>
                      <a:pt x="67" y="59"/>
                    </a:cubicBezTo>
                    <a:cubicBezTo>
                      <a:pt x="67" y="59"/>
                      <a:pt x="67" y="59"/>
                      <a:pt x="68" y="59"/>
                    </a:cubicBezTo>
                    <a:cubicBezTo>
                      <a:pt x="73" y="59"/>
                      <a:pt x="78" y="56"/>
                      <a:pt x="80" y="50"/>
                    </a:cubicBezTo>
                    <a:cubicBezTo>
                      <a:pt x="84" y="33"/>
                      <a:pt x="84" y="33"/>
                      <a:pt x="84" y="33"/>
                    </a:cubicBezTo>
                    <a:cubicBezTo>
                      <a:pt x="85" y="27"/>
                      <a:pt x="81" y="21"/>
                      <a:pt x="76" y="2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3231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 smtClean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7" name="Freeform 29"/>
              <p:cNvSpPr>
                <a:spLocks/>
              </p:cNvSpPr>
              <p:nvPr/>
            </p:nvSpPr>
            <p:spPr bwMode="black">
              <a:xfrm>
                <a:off x="11207741" y="4198910"/>
                <a:ext cx="175191" cy="359859"/>
              </a:xfrm>
              <a:custGeom>
                <a:avLst/>
                <a:gdLst>
                  <a:gd name="T0" fmla="*/ 41 w 41"/>
                  <a:gd name="T1" fmla="*/ 77 h 85"/>
                  <a:gd name="T2" fmla="*/ 33 w 41"/>
                  <a:gd name="T3" fmla="*/ 7 h 85"/>
                  <a:gd name="T4" fmla="*/ 24 w 41"/>
                  <a:gd name="T5" fmla="*/ 1 h 85"/>
                  <a:gd name="T6" fmla="*/ 0 w 41"/>
                  <a:gd name="T7" fmla="*/ 7 h 85"/>
                  <a:gd name="T8" fmla="*/ 22 w 41"/>
                  <a:gd name="T9" fmla="*/ 85 h 85"/>
                  <a:gd name="T10" fmla="*/ 33 w 41"/>
                  <a:gd name="T11" fmla="*/ 85 h 85"/>
                  <a:gd name="T12" fmla="*/ 41 w 41"/>
                  <a:gd name="T13" fmla="*/ 77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1" h="85">
                    <a:moveTo>
                      <a:pt x="41" y="77"/>
                    </a:moveTo>
                    <a:cubicBezTo>
                      <a:pt x="33" y="7"/>
                      <a:pt x="33" y="7"/>
                      <a:pt x="33" y="7"/>
                    </a:cubicBezTo>
                    <a:cubicBezTo>
                      <a:pt x="32" y="2"/>
                      <a:pt x="28" y="0"/>
                      <a:pt x="24" y="1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7"/>
                      <a:pt x="25" y="32"/>
                      <a:pt x="22" y="85"/>
                    </a:cubicBezTo>
                    <a:cubicBezTo>
                      <a:pt x="33" y="85"/>
                      <a:pt x="33" y="85"/>
                      <a:pt x="33" y="85"/>
                    </a:cubicBezTo>
                    <a:cubicBezTo>
                      <a:pt x="38" y="85"/>
                      <a:pt x="41" y="81"/>
                      <a:pt x="41" y="7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3231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 smtClean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8" name="Freeform 30"/>
              <p:cNvSpPr>
                <a:spLocks/>
              </p:cNvSpPr>
              <p:nvPr/>
            </p:nvSpPr>
            <p:spPr bwMode="black">
              <a:xfrm>
                <a:off x="10387012" y="4206348"/>
                <a:ext cx="176211" cy="352424"/>
              </a:xfrm>
              <a:custGeom>
                <a:avLst/>
                <a:gdLst>
                  <a:gd name="T0" fmla="*/ 47 w 47"/>
                  <a:gd name="T1" fmla="*/ 9 h 94"/>
                  <a:gd name="T2" fmla="*/ 35 w 47"/>
                  <a:gd name="T3" fmla="*/ 2 h 94"/>
                  <a:gd name="T4" fmla="*/ 25 w 47"/>
                  <a:gd name="T5" fmla="*/ 6 h 94"/>
                  <a:gd name="T6" fmla="*/ 2 w 47"/>
                  <a:gd name="T7" fmla="*/ 81 h 94"/>
                  <a:gd name="T8" fmla="*/ 7 w 47"/>
                  <a:gd name="T9" fmla="*/ 90 h 94"/>
                  <a:gd name="T10" fmla="*/ 26 w 47"/>
                  <a:gd name="T11" fmla="*/ 94 h 94"/>
                  <a:gd name="T12" fmla="*/ 47 w 47"/>
                  <a:gd name="T13" fmla="*/ 9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94">
                    <a:moveTo>
                      <a:pt x="47" y="9"/>
                    </a:moveTo>
                    <a:cubicBezTo>
                      <a:pt x="35" y="2"/>
                      <a:pt x="35" y="2"/>
                      <a:pt x="35" y="2"/>
                    </a:cubicBezTo>
                    <a:cubicBezTo>
                      <a:pt x="31" y="0"/>
                      <a:pt x="27" y="2"/>
                      <a:pt x="25" y="6"/>
                    </a:cubicBezTo>
                    <a:cubicBezTo>
                      <a:pt x="2" y="81"/>
                      <a:pt x="2" y="81"/>
                      <a:pt x="2" y="81"/>
                    </a:cubicBezTo>
                    <a:cubicBezTo>
                      <a:pt x="0" y="86"/>
                      <a:pt x="3" y="90"/>
                      <a:pt x="7" y="90"/>
                    </a:cubicBezTo>
                    <a:cubicBezTo>
                      <a:pt x="26" y="94"/>
                      <a:pt x="26" y="94"/>
                      <a:pt x="26" y="94"/>
                    </a:cubicBezTo>
                    <a:cubicBezTo>
                      <a:pt x="24" y="52"/>
                      <a:pt x="47" y="9"/>
                      <a:pt x="47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3231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 smtClean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189" name="Group 188"/>
          <p:cNvGrpSpPr/>
          <p:nvPr/>
        </p:nvGrpSpPr>
        <p:grpSpPr>
          <a:xfrm>
            <a:off x="7696770" y="3327956"/>
            <a:ext cx="569902" cy="569902"/>
            <a:chOff x="8293716" y="4003332"/>
            <a:chExt cx="671134" cy="671134"/>
          </a:xfrm>
        </p:grpSpPr>
        <p:sp>
          <p:nvSpPr>
            <p:cNvPr id="190" name="Oval 310"/>
            <p:cNvSpPr>
              <a:spLocks noChangeArrowheads="1"/>
            </p:cNvSpPr>
            <p:nvPr/>
          </p:nvSpPr>
          <p:spPr bwMode="auto">
            <a:xfrm>
              <a:off x="8293716" y="4003332"/>
              <a:ext cx="671134" cy="671134"/>
            </a:xfrm>
            <a:prstGeom prst="ellipse">
              <a:avLst/>
            </a:pr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1" name="Freeform 113"/>
            <p:cNvSpPr>
              <a:spLocks noEditPoints="1"/>
            </p:cNvSpPr>
            <p:nvPr/>
          </p:nvSpPr>
          <p:spPr bwMode="black">
            <a:xfrm>
              <a:off x="8501313" y="4194745"/>
              <a:ext cx="288785" cy="288784"/>
            </a:xfrm>
            <a:custGeom>
              <a:avLst/>
              <a:gdLst>
                <a:gd name="T0" fmla="*/ 47 w 66"/>
                <a:gd name="T1" fmla="*/ 37 h 66"/>
                <a:gd name="T2" fmla="*/ 51 w 66"/>
                <a:gd name="T3" fmla="*/ 33 h 66"/>
                <a:gd name="T4" fmla="*/ 47 w 66"/>
                <a:gd name="T5" fmla="*/ 29 h 66"/>
                <a:gd name="T6" fmla="*/ 37 w 66"/>
                <a:gd name="T7" fmla="*/ 29 h 66"/>
                <a:gd name="T8" fmla="*/ 37 w 66"/>
                <a:gd name="T9" fmla="*/ 16 h 66"/>
                <a:gd name="T10" fmla="*/ 33 w 66"/>
                <a:gd name="T11" fmla="*/ 13 h 66"/>
                <a:gd name="T12" fmla="*/ 29 w 66"/>
                <a:gd name="T13" fmla="*/ 16 h 66"/>
                <a:gd name="T14" fmla="*/ 29 w 66"/>
                <a:gd name="T15" fmla="*/ 33 h 66"/>
                <a:gd name="T16" fmla="*/ 33 w 66"/>
                <a:gd name="T17" fmla="*/ 37 h 66"/>
                <a:gd name="T18" fmla="*/ 47 w 66"/>
                <a:gd name="T19" fmla="*/ 37 h 66"/>
                <a:gd name="T20" fmla="*/ 33 w 66"/>
                <a:gd name="T21" fmla="*/ 8 h 66"/>
                <a:gd name="T22" fmla="*/ 58 w 66"/>
                <a:gd name="T23" fmla="*/ 33 h 66"/>
                <a:gd name="T24" fmla="*/ 33 w 66"/>
                <a:gd name="T25" fmla="*/ 58 h 66"/>
                <a:gd name="T26" fmla="*/ 8 w 66"/>
                <a:gd name="T27" fmla="*/ 33 h 66"/>
                <a:gd name="T28" fmla="*/ 33 w 66"/>
                <a:gd name="T29" fmla="*/ 8 h 66"/>
                <a:gd name="T30" fmla="*/ 33 w 66"/>
                <a:gd name="T31" fmla="*/ 66 h 66"/>
                <a:gd name="T32" fmla="*/ 66 w 66"/>
                <a:gd name="T33" fmla="*/ 33 h 66"/>
                <a:gd name="T34" fmla="*/ 33 w 66"/>
                <a:gd name="T35" fmla="*/ 0 h 66"/>
                <a:gd name="T36" fmla="*/ 0 w 66"/>
                <a:gd name="T37" fmla="*/ 33 h 66"/>
                <a:gd name="T38" fmla="*/ 33 w 66"/>
                <a:gd name="T39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6" h="66">
                  <a:moveTo>
                    <a:pt x="47" y="37"/>
                  </a:moveTo>
                  <a:cubicBezTo>
                    <a:pt x="49" y="37"/>
                    <a:pt x="51" y="35"/>
                    <a:pt x="51" y="33"/>
                  </a:cubicBezTo>
                  <a:cubicBezTo>
                    <a:pt x="51" y="31"/>
                    <a:pt x="49" y="29"/>
                    <a:pt x="47" y="29"/>
                  </a:cubicBezTo>
                  <a:cubicBezTo>
                    <a:pt x="37" y="29"/>
                    <a:pt x="37" y="29"/>
                    <a:pt x="37" y="29"/>
                  </a:cubicBezTo>
                  <a:cubicBezTo>
                    <a:pt x="37" y="16"/>
                    <a:pt x="37" y="16"/>
                    <a:pt x="37" y="16"/>
                  </a:cubicBezTo>
                  <a:cubicBezTo>
                    <a:pt x="37" y="14"/>
                    <a:pt x="35" y="13"/>
                    <a:pt x="33" y="13"/>
                  </a:cubicBezTo>
                  <a:cubicBezTo>
                    <a:pt x="31" y="13"/>
                    <a:pt x="29" y="14"/>
                    <a:pt x="29" y="16"/>
                  </a:cubicBezTo>
                  <a:cubicBezTo>
                    <a:pt x="29" y="33"/>
                    <a:pt x="29" y="33"/>
                    <a:pt x="29" y="33"/>
                  </a:cubicBezTo>
                  <a:cubicBezTo>
                    <a:pt x="29" y="35"/>
                    <a:pt x="31" y="37"/>
                    <a:pt x="33" y="37"/>
                  </a:cubicBezTo>
                  <a:lnTo>
                    <a:pt x="47" y="37"/>
                  </a:lnTo>
                  <a:close/>
                  <a:moveTo>
                    <a:pt x="33" y="8"/>
                  </a:moveTo>
                  <a:cubicBezTo>
                    <a:pt x="47" y="8"/>
                    <a:pt x="58" y="19"/>
                    <a:pt x="58" y="33"/>
                  </a:cubicBezTo>
                  <a:cubicBezTo>
                    <a:pt x="58" y="47"/>
                    <a:pt x="47" y="58"/>
                    <a:pt x="33" y="58"/>
                  </a:cubicBezTo>
                  <a:cubicBezTo>
                    <a:pt x="19" y="58"/>
                    <a:pt x="8" y="47"/>
                    <a:pt x="8" y="33"/>
                  </a:cubicBezTo>
                  <a:cubicBezTo>
                    <a:pt x="8" y="19"/>
                    <a:pt x="19" y="8"/>
                    <a:pt x="33" y="8"/>
                  </a:cubicBezTo>
                  <a:moveTo>
                    <a:pt x="33" y="66"/>
                  </a:moveTo>
                  <a:cubicBezTo>
                    <a:pt x="51" y="66"/>
                    <a:pt x="66" y="51"/>
                    <a:pt x="66" y="33"/>
                  </a:cubicBezTo>
                  <a:cubicBezTo>
                    <a:pt x="66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6"/>
                    <a:pt x="33" y="6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92" name="Group 191"/>
          <p:cNvGrpSpPr/>
          <p:nvPr/>
        </p:nvGrpSpPr>
        <p:grpSpPr>
          <a:xfrm>
            <a:off x="7549768" y="5018788"/>
            <a:ext cx="638107" cy="639738"/>
            <a:chOff x="6623809" y="3060227"/>
            <a:chExt cx="885760" cy="888024"/>
          </a:xfrm>
        </p:grpSpPr>
        <p:sp>
          <p:nvSpPr>
            <p:cNvPr id="193" name="Oval 307"/>
            <p:cNvSpPr>
              <a:spLocks noChangeArrowheads="1"/>
            </p:cNvSpPr>
            <p:nvPr/>
          </p:nvSpPr>
          <p:spPr bwMode="auto">
            <a:xfrm>
              <a:off x="6623809" y="3060227"/>
              <a:ext cx="885760" cy="888024"/>
            </a:xfrm>
            <a:prstGeom prst="ellipse">
              <a:avLst/>
            </a:prstGeom>
            <a:solidFill>
              <a:srgbClr val="EB3C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4" name="Freeform 81"/>
            <p:cNvSpPr>
              <a:spLocks noEditPoints="1"/>
            </p:cNvSpPr>
            <p:nvPr/>
          </p:nvSpPr>
          <p:spPr bwMode="black">
            <a:xfrm>
              <a:off x="6889427" y="3371258"/>
              <a:ext cx="344794" cy="266936"/>
            </a:xfrm>
            <a:custGeom>
              <a:avLst/>
              <a:gdLst>
                <a:gd name="T0" fmla="*/ 71 w 75"/>
                <a:gd name="T1" fmla="*/ 58 h 58"/>
                <a:gd name="T2" fmla="*/ 4 w 75"/>
                <a:gd name="T3" fmla="*/ 58 h 58"/>
                <a:gd name="T4" fmla="*/ 0 w 75"/>
                <a:gd name="T5" fmla="*/ 54 h 58"/>
                <a:gd name="T6" fmla="*/ 0 w 75"/>
                <a:gd name="T7" fmla="*/ 4 h 58"/>
                <a:gd name="T8" fmla="*/ 4 w 75"/>
                <a:gd name="T9" fmla="*/ 0 h 58"/>
                <a:gd name="T10" fmla="*/ 71 w 75"/>
                <a:gd name="T11" fmla="*/ 0 h 58"/>
                <a:gd name="T12" fmla="*/ 75 w 75"/>
                <a:gd name="T13" fmla="*/ 4 h 58"/>
                <a:gd name="T14" fmla="*/ 75 w 75"/>
                <a:gd name="T15" fmla="*/ 54 h 58"/>
                <a:gd name="T16" fmla="*/ 71 w 75"/>
                <a:gd name="T17" fmla="*/ 58 h 58"/>
                <a:gd name="T18" fmla="*/ 8 w 75"/>
                <a:gd name="T19" fmla="*/ 50 h 58"/>
                <a:gd name="T20" fmla="*/ 67 w 75"/>
                <a:gd name="T21" fmla="*/ 50 h 58"/>
                <a:gd name="T22" fmla="*/ 67 w 75"/>
                <a:gd name="T23" fmla="*/ 16 h 58"/>
                <a:gd name="T24" fmla="*/ 39 w 75"/>
                <a:gd name="T25" fmla="*/ 38 h 58"/>
                <a:gd name="T26" fmla="*/ 35 w 75"/>
                <a:gd name="T27" fmla="*/ 38 h 58"/>
                <a:gd name="T28" fmla="*/ 8 w 75"/>
                <a:gd name="T29" fmla="*/ 17 h 58"/>
                <a:gd name="T30" fmla="*/ 8 w 75"/>
                <a:gd name="T31" fmla="*/ 50 h 58"/>
                <a:gd name="T32" fmla="*/ 9 w 75"/>
                <a:gd name="T33" fmla="*/ 8 h 58"/>
                <a:gd name="T34" fmla="*/ 37 w 75"/>
                <a:gd name="T35" fmla="*/ 30 h 58"/>
                <a:gd name="T36" fmla="*/ 65 w 75"/>
                <a:gd name="T37" fmla="*/ 8 h 58"/>
                <a:gd name="T38" fmla="*/ 9 w 75"/>
                <a:gd name="T39" fmla="*/ 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5" h="58">
                  <a:moveTo>
                    <a:pt x="71" y="58"/>
                  </a:moveTo>
                  <a:cubicBezTo>
                    <a:pt x="4" y="58"/>
                    <a:pt x="4" y="58"/>
                    <a:pt x="4" y="58"/>
                  </a:cubicBezTo>
                  <a:cubicBezTo>
                    <a:pt x="2" y="58"/>
                    <a:pt x="0" y="56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73" y="0"/>
                    <a:pt x="75" y="2"/>
                    <a:pt x="75" y="4"/>
                  </a:cubicBezTo>
                  <a:cubicBezTo>
                    <a:pt x="75" y="54"/>
                    <a:pt x="75" y="54"/>
                    <a:pt x="75" y="54"/>
                  </a:cubicBezTo>
                  <a:cubicBezTo>
                    <a:pt x="75" y="56"/>
                    <a:pt x="73" y="58"/>
                    <a:pt x="71" y="58"/>
                  </a:cubicBezTo>
                  <a:close/>
                  <a:moveTo>
                    <a:pt x="8" y="50"/>
                  </a:moveTo>
                  <a:cubicBezTo>
                    <a:pt x="67" y="50"/>
                    <a:pt x="67" y="50"/>
                    <a:pt x="67" y="50"/>
                  </a:cubicBezTo>
                  <a:cubicBezTo>
                    <a:pt x="67" y="16"/>
                    <a:pt x="67" y="16"/>
                    <a:pt x="67" y="16"/>
                  </a:cubicBezTo>
                  <a:cubicBezTo>
                    <a:pt x="39" y="38"/>
                    <a:pt x="39" y="38"/>
                    <a:pt x="39" y="38"/>
                  </a:cubicBezTo>
                  <a:cubicBezTo>
                    <a:pt x="38" y="39"/>
                    <a:pt x="36" y="39"/>
                    <a:pt x="35" y="38"/>
                  </a:cubicBezTo>
                  <a:cubicBezTo>
                    <a:pt x="8" y="17"/>
                    <a:pt x="8" y="17"/>
                    <a:pt x="8" y="17"/>
                  </a:cubicBezTo>
                  <a:lnTo>
                    <a:pt x="8" y="50"/>
                  </a:lnTo>
                  <a:close/>
                  <a:moveTo>
                    <a:pt x="9" y="8"/>
                  </a:moveTo>
                  <a:cubicBezTo>
                    <a:pt x="37" y="30"/>
                    <a:pt x="37" y="30"/>
                    <a:pt x="37" y="30"/>
                  </a:cubicBezTo>
                  <a:cubicBezTo>
                    <a:pt x="65" y="8"/>
                    <a:pt x="65" y="8"/>
                    <a:pt x="65" y="8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31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95" name="Group 194"/>
          <p:cNvGrpSpPr/>
          <p:nvPr/>
        </p:nvGrpSpPr>
        <p:grpSpPr>
          <a:xfrm>
            <a:off x="6710114" y="4381822"/>
            <a:ext cx="521724" cy="524106"/>
            <a:chOff x="7760668" y="4932035"/>
            <a:chExt cx="563135" cy="565706"/>
          </a:xfrm>
        </p:grpSpPr>
        <p:sp>
          <p:nvSpPr>
            <p:cNvPr id="196" name="Oval 321"/>
            <p:cNvSpPr>
              <a:spLocks noChangeArrowheads="1"/>
            </p:cNvSpPr>
            <p:nvPr/>
          </p:nvSpPr>
          <p:spPr bwMode="auto">
            <a:xfrm>
              <a:off x="7760668" y="4932035"/>
              <a:ext cx="563135" cy="565706"/>
            </a:xfrm>
            <a:prstGeom prst="ellipse">
              <a:avLst/>
            </a:pr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7" name="TextBox 196"/>
            <p:cNvSpPr txBox="1"/>
            <p:nvPr/>
          </p:nvSpPr>
          <p:spPr>
            <a:xfrm>
              <a:off x="7865481" y="5008266"/>
              <a:ext cx="353316" cy="43186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2000" dirty="0" smtClean="0">
                  <a:solidFill>
                    <a:schemeClr val="bg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$</a:t>
              </a:r>
              <a:endParaRPr lang="en-US" sz="2000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</p:txBody>
        </p:sp>
      </p:grpSp>
      <p:sp>
        <p:nvSpPr>
          <p:cNvPr id="199" name="Oval 318"/>
          <p:cNvSpPr>
            <a:spLocks noChangeArrowheads="1"/>
          </p:cNvSpPr>
          <p:nvPr/>
        </p:nvSpPr>
        <p:spPr bwMode="auto">
          <a:xfrm>
            <a:off x="8955087" y="3404568"/>
            <a:ext cx="423848" cy="426341"/>
          </a:xfrm>
          <a:prstGeom prst="ellipse">
            <a:avLst/>
          </a:prstGeom>
          <a:solidFill>
            <a:srgbClr val="00B0F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pic>
        <p:nvPicPr>
          <p:cNvPr id="204" name="Picture 203"/>
          <p:cNvPicPr>
            <a:picLocks noChangeAspect="1"/>
          </p:cNvPicPr>
          <p:nvPr/>
        </p:nvPicPr>
        <p:blipFill>
          <a:blip r:embed="rId7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94716" y="1633026"/>
            <a:ext cx="397756" cy="397756"/>
          </a:xfrm>
          <a:prstGeom prst="rect">
            <a:avLst/>
          </a:prstGeom>
        </p:spPr>
      </p:pic>
      <p:pic>
        <p:nvPicPr>
          <p:cNvPr id="205" name="Picture 204"/>
          <p:cNvPicPr>
            <a:picLocks noChangeAspect="1"/>
          </p:cNvPicPr>
          <p:nvPr/>
        </p:nvPicPr>
        <p:blipFill>
          <a:blip r:embed="rId8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99155" y="1425220"/>
            <a:ext cx="507177" cy="507177"/>
          </a:xfrm>
          <a:prstGeom prst="rect">
            <a:avLst/>
          </a:prstGeom>
        </p:spPr>
      </p:pic>
      <p:pic>
        <p:nvPicPr>
          <p:cNvPr id="206" name="Picture 205"/>
          <p:cNvPicPr>
            <a:picLocks noChangeAspect="1"/>
          </p:cNvPicPr>
          <p:nvPr/>
        </p:nvPicPr>
        <p:blipFill>
          <a:blip r:embed="rId9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0564" y="2236413"/>
            <a:ext cx="367625" cy="367625"/>
          </a:xfrm>
          <a:prstGeom prst="rect">
            <a:avLst/>
          </a:prstGeom>
        </p:spPr>
      </p:pic>
      <p:pic>
        <p:nvPicPr>
          <p:cNvPr id="207" name="Picture 206"/>
          <p:cNvPicPr>
            <a:picLocks noChangeAspect="1"/>
          </p:cNvPicPr>
          <p:nvPr/>
        </p:nvPicPr>
        <p:blipFill>
          <a:blip r:embed="rId10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0803293" y="1752037"/>
            <a:ext cx="279963" cy="279963"/>
          </a:xfrm>
          <a:prstGeom prst="rect">
            <a:avLst/>
          </a:prstGeom>
        </p:spPr>
      </p:pic>
      <p:pic>
        <p:nvPicPr>
          <p:cNvPr id="208" name="Picture 207"/>
          <p:cNvPicPr>
            <a:picLocks noChangeAspect="1"/>
          </p:cNvPicPr>
          <p:nvPr/>
        </p:nvPicPr>
        <p:blipFill>
          <a:blip r:embed="rId11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9023" y="2237978"/>
            <a:ext cx="297451" cy="297451"/>
          </a:xfrm>
          <a:prstGeom prst="rect">
            <a:avLst/>
          </a:prstGeom>
        </p:spPr>
      </p:pic>
      <p:pic>
        <p:nvPicPr>
          <p:cNvPr id="209" name="Picture 208"/>
          <p:cNvPicPr>
            <a:picLocks noChangeAspect="1"/>
          </p:cNvPicPr>
          <p:nvPr/>
        </p:nvPicPr>
        <p:blipFill>
          <a:blip r:embed="rId12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24239" y="3464242"/>
            <a:ext cx="297451" cy="297451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814" y="19895"/>
            <a:ext cx="5864298" cy="2932149"/>
          </a:xfrm>
          <a:prstGeom prst="rect">
            <a:avLst/>
          </a:prstGeom>
        </p:spPr>
      </p:pic>
      <p:sp>
        <p:nvSpPr>
          <p:cNvPr id="164" name="Title 163"/>
          <p:cNvSpPr>
            <a:spLocks noGrp="1"/>
          </p:cNvSpPr>
          <p:nvPr>
            <p:ph type="ctrTitle"/>
          </p:nvPr>
        </p:nvSpPr>
        <p:spPr>
          <a:xfrm>
            <a:off x="4203269" y="2272399"/>
            <a:ext cx="4632115" cy="1036494"/>
          </a:xfrm>
        </p:spPr>
        <p:txBody>
          <a:bodyPr/>
          <a:lstStyle/>
          <a:p>
            <a:r>
              <a:rPr lang="nl-BE" sz="6600" dirty="0" err="1" smtClean="0">
                <a:solidFill>
                  <a:srgbClr val="394D54"/>
                </a:solidFill>
              </a:rPr>
              <a:t>demystified</a:t>
            </a:r>
            <a:endParaRPr lang="en-US" sz="6600" dirty="0">
              <a:solidFill>
                <a:srgbClr val="394D5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85872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4980" name="Picture 4" descr="http://cdn.softlayer.com/shutterstock_8141499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30431" y="823350"/>
            <a:ext cx="7935554" cy="529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7459580" y="238575"/>
            <a:ext cx="480640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l-BE" sz="3200" dirty="0" smtClean="0">
                <a:solidFill>
                  <a:schemeClr val="bg1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 </a:t>
            </a:r>
            <a:r>
              <a:rPr lang="nl-BE" sz="3200" dirty="0" err="1" smtClean="0">
                <a:solidFill>
                  <a:schemeClr val="bg1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shipping</a:t>
            </a:r>
            <a:r>
              <a:rPr lang="nl-BE" sz="3200" dirty="0" smtClean="0">
                <a:solidFill>
                  <a:schemeClr val="bg1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container …</a:t>
            </a:r>
            <a:endParaRPr lang="en-US" sz="3200" dirty="0">
              <a:solidFill>
                <a:schemeClr val="bg1">
                  <a:lumMod val="75000"/>
                </a:schemeClr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330431" y="6115350"/>
            <a:ext cx="253144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3200" dirty="0" smtClean="0">
                <a:solidFill>
                  <a:schemeClr val="bg1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… </a:t>
            </a:r>
            <a:r>
              <a:rPr lang="nl-BE" sz="3200" dirty="0" err="1" smtClean="0">
                <a:solidFill>
                  <a:schemeClr val="bg1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for</a:t>
            </a:r>
            <a:r>
              <a:rPr lang="nl-BE" sz="3200" dirty="0" smtClean="0">
                <a:solidFill>
                  <a:schemeClr val="bg1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code</a:t>
            </a:r>
            <a:endParaRPr lang="en-US" sz="3200" dirty="0">
              <a:solidFill>
                <a:schemeClr val="bg1">
                  <a:lumMod val="75000"/>
                </a:schemeClr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7" name="Text Placeholder 1"/>
          <p:cNvSpPr txBox="1">
            <a:spLocks/>
          </p:cNvSpPr>
          <p:nvPr/>
        </p:nvSpPr>
        <p:spPr>
          <a:xfrm>
            <a:off x="540000" y="576000"/>
            <a:ext cx="3338981" cy="156752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555132" rtl="0" eaLnBrk="1" latinLnBrk="0" hangingPunct="1">
              <a:spcBef>
                <a:spcPts val="0"/>
              </a:spcBef>
              <a:spcAft>
                <a:spcPts val="1200"/>
              </a:spcAft>
              <a:buFont typeface="Arial"/>
              <a:buNone/>
              <a:defRPr sz="2200" b="0" kern="1200">
                <a:solidFill>
                  <a:schemeClr val="bg1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2pPr marL="0" indent="0" algn="l" defTabSz="555132" rtl="0" eaLnBrk="1" latinLnBrk="0" hangingPunct="1">
              <a:spcBef>
                <a:spcPts val="600"/>
              </a:spcBef>
              <a:buFont typeface="Arial"/>
              <a:buNone/>
              <a:defRPr sz="22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10265" indent="0" algn="l" defTabSz="555132" rtl="0" eaLnBrk="1" latinLnBrk="0" hangingPunct="1">
              <a:spcBef>
                <a:spcPct val="20000"/>
              </a:spcBef>
              <a:buFont typeface="Arial"/>
              <a:buNone/>
              <a:defRPr sz="29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65397" indent="0" algn="l" defTabSz="555132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220529" indent="0" algn="l" defTabSz="555132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3053227" indent="-277566" algn="l" defTabSz="555132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8360" indent="-277566" algn="l" defTabSz="555132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63492" indent="-277566" algn="l" defTabSz="555132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18624" indent="-277566" algn="l" defTabSz="555132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BE" sz="4000" dirty="0" err="1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Along</a:t>
            </a:r>
            <a:r>
              <a:rPr lang="nl-BE" sz="40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nl-BE" sz="4000" dirty="0" err="1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came</a:t>
            </a:r>
            <a:r>
              <a:rPr lang="nl-BE" sz="40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 Docker</a:t>
            </a:r>
            <a:endParaRPr lang="en-US" sz="40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08300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/>
        </p:nvGrpSpPr>
        <p:grpSpPr>
          <a:xfrm>
            <a:off x="4466756" y="1287914"/>
            <a:ext cx="7651449" cy="4073183"/>
            <a:chOff x="4466756" y="1287914"/>
            <a:chExt cx="7651449" cy="4073183"/>
          </a:xfrm>
        </p:grpSpPr>
        <p:sp>
          <p:nvSpPr>
            <p:cNvPr id="4" name="Rounded Rectangular Callout 3"/>
            <p:cNvSpPr/>
            <p:nvPr/>
          </p:nvSpPr>
          <p:spPr>
            <a:xfrm>
              <a:off x="4466756" y="1287914"/>
              <a:ext cx="7651449" cy="2589196"/>
            </a:xfrm>
            <a:prstGeom prst="wedgeRoundRectCallout">
              <a:avLst>
                <a:gd name="adj1" fmla="val 34895"/>
                <a:gd name="adj2" fmla="val 84062"/>
                <a:gd name="adj3" fmla="val 16667"/>
              </a:avLst>
            </a:prstGeom>
            <a:noFill/>
            <a:ln w="142875" cap="flat">
              <a:solidFill>
                <a:srgbClr val="3399FF"/>
              </a:solidFill>
              <a:round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3" name="Rectangle 2"/>
            <p:cNvSpPr/>
            <p:nvPr/>
          </p:nvSpPr>
          <p:spPr>
            <a:xfrm>
              <a:off x="4563008" y="1428350"/>
              <a:ext cx="7458945" cy="230832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3600" dirty="0" smtClean="0">
                  <a:solidFill>
                    <a:schemeClr val="bg1">
                      <a:lumMod val="85000"/>
                    </a:schemeClr>
                  </a:solidFill>
                  <a:latin typeface="Segoe UI Semibold" panose="020B0702040204020203" pitchFamily="34" charset="0"/>
                  <a:ea typeface="Calibri" panose="020F0502020204030204" pitchFamily="34" charset="0"/>
                  <a:cs typeface="Segoe UI Semibold" panose="020B0702040204020203" pitchFamily="34" charset="0"/>
                </a:rPr>
                <a:t>“Docker </a:t>
              </a:r>
              <a:r>
                <a:rPr lang="en-US" sz="3600" dirty="0">
                  <a:solidFill>
                    <a:schemeClr val="bg1">
                      <a:lumMod val="85000"/>
                    </a:schemeClr>
                  </a:solidFill>
                  <a:latin typeface="Segoe UI Semibold" panose="020B0702040204020203" pitchFamily="34" charset="0"/>
                  <a:ea typeface="Calibri" panose="020F0502020204030204" pitchFamily="34" charset="0"/>
                  <a:cs typeface="Segoe UI Semibold" panose="020B0702040204020203" pitchFamily="34" charset="0"/>
                </a:rPr>
                <a:t>allows you to package an application with all of its dependencies into a standardized unit </a:t>
              </a:r>
              <a:r>
                <a:rPr lang="en-US" sz="3600" dirty="0">
                  <a:solidFill>
                    <a:srgbClr val="3399FF"/>
                  </a:solidFill>
                  <a:latin typeface="Segoe UI Semibold" panose="020B0702040204020203" pitchFamily="34" charset="0"/>
                  <a:ea typeface="Calibri" panose="020F0502020204030204" pitchFamily="34" charset="0"/>
                  <a:cs typeface="Segoe UI Semibold" panose="020B0702040204020203" pitchFamily="34" charset="0"/>
                </a:rPr>
                <a:t>for</a:t>
              </a:r>
              <a:r>
                <a:rPr lang="en-US" sz="3600" dirty="0">
                  <a:solidFill>
                    <a:schemeClr val="bg1">
                      <a:lumMod val="85000"/>
                    </a:schemeClr>
                  </a:solidFill>
                  <a:latin typeface="Segoe UI Semibold" panose="020B0702040204020203" pitchFamily="34" charset="0"/>
                  <a:ea typeface="Calibri" panose="020F0502020204030204" pitchFamily="34" charset="0"/>
                  <a:cs typeface="Segoe UI Semibold" panose="020B0702040204020203" pitchFamily="34" charset="0"/>
                </a:rPr>
                <a:t> </a:t>
              </a:r>
              <a:r>
                <a:rPr lang="en-US" sz="3600" dirty="0">
                  <a:solidFill>
                    <a:srgbClr val="3399FF"/>
                  </a:solidFill>
                  <a:latin typeface="Segoe UI Semibold" panose="020B0702040204020203" pitchFamily="34" charset="0"/>
                  <a:ea typeface="Calibri" panose="020F0502020204030204" pitchFamily="34" charset="0"/>
                  <a:cs typeface="Segoe UI Semibold" panose="020B0702040204020203" pitchFamily="34" charset="0"/>
                </a:rPr>
                <a:t>software development</a:t>
              </a:r>
              <a:r>
                <a:rPr lang="en-US" sz="3600" dirty="0" smtClean="0">
                  <a:solidFill>
                    <a:schemeClr val="bg1">
                      <a:lumMod val="85000"/>
                    </a:schemeClr>
                  </a:solidFill>
                  <a:latin typeface="Segoe UI Semibold" panose="020B0702040204020203" pitchFamily="34" charset="0"/>
                  <a:ea typeface="Calibri" panose="020F0502020204030204" pitchFamily="34" charset="0"/>
                  <a:cs typeface="Segoe UI Semibold" panose="020B0702040204020203" pitchFamily="34" charset="0"/>
                </a:rPr>
                <a:t>.”</a:t>
              </a:r>
              <a:endParaRPr lang="en-US" sz="3200" dirty="0">
                <a:solidFill>
                  <a:schemeClr val="bg1">
                    <a:lumMod val="8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5" name="TextBox 4"/>
            <p:cNvSpPr txBox="1"/>
            <p:nvPr/>
          </p:nvSpPr>
          <p:spPr>
            <a:xfrm>
              <a:off x="10222029" y="4899432"/>
              <a:ext cx="179992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nl-BE" sz="2400" dirty="0" smtClean="0">
                  <a:solidFill>
                    <a:schemeClr val="bg1">
                      <a:lumMod val="85000"/>
                    </a:schemeClr>
                  </a:solidFill>
                </a:rPr>
                <a:t>docker.com</a:t>
              </a:r>
              <a:endParaRPr lang="en-US" sz="2400" dirty="0">
                <a:solidFill>
                  <a:schemeClr val="bg1">
                    <a:lumMod val="85000"/>
                  </a:schemeClr>
                </a:solidFill>
              </a:endParaRPr>
            </a:p>
          </p:txBody>
        </p:sp>
      </p:grpSp>
      <p:sp>
        <p:nvSpPr>
          <p:cNvPr id="8" name="Text Placeholder 1"/>
          <p:cNvSpPr txBox="1">
            <a:spLocks/>
          </p:cNvSpPr>
          <p:nvPr/>
        </p:nvSpPr>
        <p:spPr>
          <a:xfrm>
            <a:off x="540000" y="576000"/>
            <a:ext cx="3338981" cy="156752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555132" rtl="0" eaLnBrk="1" latinLnBrk="0" hangingPunct="1">
              <a:spcBef>
                <a:spcPts val="0"/>
              </a:spcBef>
              <a:spcAft>
                <a:spcPts val="1200"/>
              </a:spcAft>
              <a:buFont typeface="Arial"/>
              <a:buNone/>
              <a:defRPr sz="2200" b="0" kern="1200">
                <a:solidFill>
                  <a:schemeClr val="bg1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2pPr marL="0" indent="0" algn="l" defTabSz="555132" rtl="0" eaLnBrk="1" latinLnBrk="0" hangingPunct="1">
              <a:spcBef>
                <a:spcPts val="600"/>
              </a:spcBef>
              <a:buFont typeface="Arial"/>
              <a:buNone/>
              <a:defRPr sz="22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10265" indent="0" algn="l" defTabSz="555132" rtl="0" eaLnBrk="1" latinLnBrk="0" hangingPunct="1">
              <a:spcBef>
                <a:spcPct val="20000"/>
              </a:spcBef>
              <a:buFont typeface="Arial"/>
              <a:buNone/>
              <a:defRPr sz="29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65397" indent="0" algn="l" defTabSz="555132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220529" indent="0" algn="l" defTabSz="555132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3053227" indent="-277566" algn="l" defTabSz="555132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8360" indent="-277566" algn="l" defTabSz="555132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63492" indent="-277566" algn="l" defTabSz="555132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18624" indent="-277566" algn="l" defTabSz="555132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BE" sz="4000" dirty="0" err="1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Along</a:t>
            </a:r>
            <a:r>
              <a:rPr lang="nl-BE" sz="40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nl-BE" sz="4000" dirty="0" err="1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came</a:t>
            </a:r>
            <a:r>
              <a:rPr lang="nl-BE" sz="40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 Docker</a:t>
            </a:r>
            <a:endParaRPr lang="en-US" sz="40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06793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8422105" y="5621153"/>
            <a:ext cx="392710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3200" dirty="0" smtClean="0">
                <a:solidFill>
                  <a:schemeClr val="bg1">
                    <a:lumMod val="75000"/>
                  </a:schemeClr>
                </a:solidFill>
                <a:latin typeface="+mj-lt"/>
              </a:rPr>
              <a:t>… a sneak preview</a:t>
            </a:r>
            <a:endParaRPr lang="en-US" sz="3200" dirty="0">
              <a:solidFill>
                <a:schemeClr val="bg1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5" name="Text Placeholder 1"/>
          <p:cNvSpPr txBox="1">
            <a:spLocks/>
          </p:cNvSpPr>
          <p:nvPr/>
        </p:nvSpPr>
        <p:spPr>
          <a:xfrm>
            <a:off x="540000" y="576000"/>
            <a:ext cx="3338981" cy="156752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555132" rtl="0" eaLnBrk="1" latinLnBrk="0" hangingPunct="1">
              <a:spcBef>
                <a:spcPts val="0"/>
              </a:spcBef>
              <a:spcAft>
                <a:spcPts val="1200"/>
              </a:spcAft>
              <a:buFont typeface="Arial"/>
              <a:buNone/>
              <a:defRPr sz="2200" b="0" kern="1200">
                <a:solidFill>
                  <a:schemeClr val="bg1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2pPr marL="0" indent="0" algn="l" defTabSz="555132" rtl="0" eaLnBrk="1" latinLnBrk="0" hangingPunct="1">
              <a:spcBef>
                <a:spcPts val="600"/>
              </a:spcBef>
              <a:buFont typeface="Arial"/>
              <a:buNone/>
              <a:defRPr sz="22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10265" indent="0" algn="l" defTabSz="555132" rtl="0" eaLnBrk="1" latinLnBrk="0" hangingPunct="1">
              <a:spcBef>
                <a:spcPct val="20000"/>
              </a:spcBef>
              <a:buFont typeface="Arial"/>
              <a:buNone/>
              <a:defRPr sz="29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65397" indent="0" algn="l" defTabSz="555132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220529" indent="0" algn="l" defTabSz="555132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3053227" indent="-277566" algn="l" defTabSz="555132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8360" indent="-277566" algn="l" defTabSz="555132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63492" indent="-277566" algn="l" defTabSz="555132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18624" indent="-277566" algn="l" defTabSz="555132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BE" sz="40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Docker</a:t>
            </a:r>
            <a:endParaRPr lang="en-US" sz="40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43071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 smtClean="0"/>
              <a:t>How does </a:t>
            </a:r>
            <a:r>
              <a:rPr lang="nl-BE" dirty="0" err="1" smtClean="0"/>
              <a:t>it</a:t>
            </a:r>
            <a:r>
              <a:rPr lang="nl-BE" dirty="0" smtClean="0"/>
              <a:t> </a:t>
            </a:r>
            <a:r>
              <a:rPr lang="nl-BE" dirty="0" err="1" smtClean="0"/>
              <a:t>work</a:t>
            </a:r>
            <a:r>
              <a:rPr lang="nl-BE" dirty="0" smtClean="0"/>
              <a:t>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00881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2000" y="132616"/>
            <a:ext cx="5524901" cy="6061804"/>
          </a:xfrm>
          <a:prstGeom prst="rect">
            <a:avLst/>
          </a:prstGeom>
        </p:spPr>
      </p:pic>
      <p:sp>
        <p:nvSpPr>
          <p:cNvPr id="7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540000" y="576000"/>
            <a:ext cx="3338981" cy="1567521"/>
          </a:xfrm>
        </p:spPr>
        <p:txBody>
          <a:bodyPr/>
          <a:lstStyle/>
          <a:p>
            <a:r>
              <a:rPr lang="nl-BE" sz="40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Virtual machines</a:t>
            </a:r>
            <a:endParaRPr lang="en-US" sz="40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4" name="Text Placeholder 3"/>
          <p:cNvSpPr txBox="1">
            <a:spLocks/>
          </p:cNvSpPr>
          <p:nvPr/>
        </p:nvSpPr>
        <p:spPr>
          <a:xfrm>
            <a:off x="67378" y="4951413"/>
            <a:ext cx="3811522" cy="12218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555132" rtl="0" eaLnBrk="1" latinLnBrk="0" hangingPunct="1">
              <a:spcBef>
                <a:spcPts val="0"/>
              </a:spcBef>
              <a:spcAft>
                <a:spcPts val="1200"/>
              </a:spcAft>
              <a:buFont typeface="Arial"/>
              <a:buNone/>
              <a:defRPr sz="2200" b="0" kern="1200">
                <a:solidFill>
                  <a:schemeClr val="bg1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2pPr marL="0" indent="0" algn="l" defTabSz="555132" rtl="0" eaLnBrk="1" latinLnBrk="0" hangingPunct="1">
              <a:spcBef>
                <a:spcPts val="600"/>
              </a:spcBef>
              <a:buFont typeface="Arial"/>
              <a:buNone/>
              <a:defRPr sz="22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10265" indent="0" algn="l" defTabSz="555132" rtl="0" eaLnBrk="1" latinLnBrk="0" hangingPunct="1">
              <a:spcBef>
                <a:spcPct val="20000"/>
              </a:spcBef>
              <a:buFont typeface="Arial"/>
              <a:buNone/>
              <a:defRPr sz="29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65397" indent="0" algn="l" defTabSz="555132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220529" indent="0" algn="l" defTabSz="555132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3053227" indent="-277566" algn="l" defTabSz="555132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8360" indent="-277566" algn="l" defTabSz="555132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63492" indent="-277566" algn="l" defTabSz="555132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18624" indent="-277566" algn="l" defTabSz="555132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Aft>
                <a:spcPts val="0"/>
              </a:spcAft>
            </a:pPr>
            <a:r>
              <a:rPr lang="en-US" sz="24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Isolated, </a:t>
            </a:r>
          </a:p>
          <a:p>
            <a:pPr algn="r">
              <a:spcAft>
                <a:spcPts val="0"/>
              </a:spcAft>
            </a:pPr>
            <a:r>
              <a:rPr lang="en-US" sz="24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but at a cost</a:t>
            </a:r>
            <a:endParaRPr lang="en-US" sz="24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9781568" y="6212993"/>
            <a:ext cx="121533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800" dirty="0">
                <a:solidFill>
                  <a:schemeClr val="bg1">
                    <a:lumMod val="85000"/>
                  </a:schemeClr>
                </a:solidFill>
                <a:latin typeface="+mj-lt"/>
              </a:rPr>
              <a:t>© Docker</a:t>
            </a:r>
          </a:p>
        </p:txBody>
      </p:sp>
    </p:spTree>
    <p:extLst>
      <p:ext uri="{BB962C8B-B14F-4D97-AF65-F5344CB8AC3E}">
        <p14:creationId xmlns:p14="http://schemas.microsoft.com/office/powerpoint/2010/main" val="4163134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67378" y="4951413"/>
            <a:ext cx="3811522" cy="1221856"/>
          </a:xfrm>
        </p:spPr>
        <p:txBody>
          <a:bodyPr/>
          <a:lstStyle/>
          <a:p>
            <a:pPr algn="r">
              <a:spcAft>
                <a:spcPts val="0"/>
              </a:spcAft>
            </a:pPr>
            <a:r>
              <a:rPr lang="en-US" sz="24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Isolated, </a:t>
            </a:r>
          </a:p>
          <a:p>
            <a:pPr algn="r">
              <a:spcAft>
                <a:spcPts val="0"/>
              </a:spcAft>
            </a:pPr>
            <a:r>
              <a:rPr lang="en-US" sz="24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yet lean and mean</a:t>
            </a:r>
            <a:endParaRPr lang="en-US" sz="24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2000" y="2223239"/>
            <a:ext cx="5526000" cy="3914969"/>
          </a:xfrm>
          <a:prstGeom prst="rect">
            <a:avLst/>
          </a:prstGeom>
        </p:spPr>
      </p:pic>
      <p:sp>
        <p:nvSpPr>
          <p:cNvPr id="6" name="Text Placeholder 1"/>
          <p:cNvSpPr txBox="1">
            <a:spLocks/>
          </p:cNvSpPr>
          <p:nvPr/>
        </p:nvSpPr>
        <p:spPr>
          <a:xfrm>
            <a:off x="540000" y="576000"/>
            <a:ext cx="3338981" cy="156752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555132" rtl="0" eaLnBrk="1" latinLnBrk="0" hangingPunct="1">
              <a:spcBef>
                <a:spcPts val="0"/>
              </a:spcBef>
              <a:spcAft>
                <a:spcPts val="1200"/>
              </a:spcAft>
              <a:buFont typeface="Arial"/>
              <a:buNone/>
              <a:defRPr sz="2200" b="0" kern="1200">
                <a:solidFill>
                  <a:schemeClr val="bg1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2pPr marL="0" indent="0" algn="l" defTabSz="555132" rtl="0" eaLnBrk="1" latinLnBrk="0" hangingPunct="1">
              <a:spcBef>
                <a:spcPts val="600"/>
              </a:spcBef>
              <a:buFont typeface="Arial"/>
              <a:buNone/>
              <a:defRPr sz="22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10265" indent="0" algn="l" defTabSz="555132" rtl="0" eaLnBrk="1" latinLnBrk="0" hangingPunct="1">
              <a:spcBef>
                <a:spcPct val="20000"/>
              </a:spcBef>
              <a:buFont typeface="Arial"/>
              <a:buNone/>
              <a:defRPr sz="29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65397" indent="0" algn="l" defTabSz="555132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220529" indent="0" algn="l" defTabSz="555132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3053227" indent="-277566" algn="l" defTabSz="555132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8360" indent="-277566" algn="l" defTabSz="555132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63492" indent="-277566" algn="l" defTabSz="555132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18624" indent="-277566" algn="l" defTabSz="555132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BE" sz="40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Docker containers</a:t>
            </a:r>
            <a:endParaRPr lang="en-US" sz="40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9788899" y="6184840"/>
            <a:ext cx="121533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800" dirty="0">
                <a:solidFill>
                  <a:schemeClr val="bg1">
                    <a:lumMod val="85000"/>
                  </a:schemeClr>
                </a:solidFill>
                <a:latin typeface="+mj-lt"/>
              </a:rPr>
              <a:t>© Docker</a:t>
            </a:r>
          </a:p>
        </p:txBody>
      </p:sp>
    </p:spTree>
    <p:extLst>
      <p:ext uri="{BB962C8B-B14F-4D97-AF65-F5344CB8AC3E}">
        <p14:creationId xmlns:p14="http://schemas.microsoft.com/office/powerpoint/2010/main" val="42118237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41338" y="4988845"/>
            <a:ext cx="3337561" cy="929177"/>
          </a:xfrm>
        </p:spPr>
        <p:txBody>
          <a:bodyPr/>
          <a:lstStyle/>
          <a:p>
            <a:pPr algn="r">
              <a:spcAft>
                <a:spcPts val="0"/>
              </a:spcAft>
            </a:pPr>
            <a:r>
              <a:rPr lang="en-US" sz="24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Mutually exclusive?</a:t>
            </a:r>
          </a:p>
          <a:p>
            <a:pPr algn="r">
              <a:spcAft>
                <a:spcPts val="0"/>
              </a:spcAft>
            </a:pPr>
            <a:r>
              <a:rPr lang="en-US" sz="24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No!</a:t>
            </a:r>
            <a:endParaRPr lang="en-US" sz="24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41339" y="576000"/>
            <a:ext cx="3337560" cy="1495794"/>
          </a:xfrm>
        </p:spPr>
        <p:txBody>
          <a:bodyPr/>
          <a:lstStyle/>
          <a:p>
            <a:r>
              <a:rPr lang="nl-BE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Containers </a:t>
            </a:r>
            <a:r>
              <a:rPr lang="nl-BE" dirty="0" err="1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and</a:t>
            </a:r>
            <a:r>
              <a:rPr lang="nl-BE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nl-BE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v</a:t>
            </a:r>
            <a:r>
              <a:rPr lang="nl-BE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irtual machines …</a:t>
            </a:r>
            <a:endParaRPr lang="en-US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9917" y="1421395"/>
            <a:ext cx="7916373" cy="43060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68470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618341" y="4989600"/>
            <a:ext cx="3337561" cy="929177"/>
          </a:xfrm>
        </p:spPr>
        <p:txBody>
          <a:bodyPr/>
          <a:lstStyle/>
          <a:p>
            <a:pPr algn="r">
              <a:spcAft>
                <a:spcPts val="0"/>
              </a:spcAft>
            </a:pPr>
            <a:r>
              <a:rPr lang="en-US" sz="24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b</a:t>
            </a:r>
            <a:r>
              <a:rPr lang="en-US" sz="24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ut Docker made it popular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41339" y="576000"/>
            <a:ext cx="3337560" cy="1495794"/>
          </a:xfrm>
        </p:spPr>
        <p:txBody>
          <a:bodyPr/>
          <a:lstStyle/>
          <a:p>
            <a:r>
              <a:rPr lang="nl-BE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Container </a:t>
            </a:r>
            <a:r>
              <a:rPr lang="nl-BE" dirty="0" err="1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technology</a:t>
            </a:r>
            <a:r>
              <a:rPr lang="nl-BE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nl-BE" dirty="0" err="1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isn’t</a:t>
            </a:r>
            <a:r>
              <a:rPr lang="nl-BE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 new</a:t>
            </a:r>
            <a:endParaRPr lang="en-US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2" name="Picture 2" descr="https://www.freebsd.org/logo/logo-full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58655" y="1323897"/>
            <a:ext cx="2173739" cy="7843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4980" name="Picture 4" descr="https://media.guim.co.uk/05f8b0b64e0050104daeb37b06dcc3b53e220ffc/0_42_1260_756/master/1260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83861" y="2441512"/>
            <a:ext cx="2728072" cy="16368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/>
          <p:cNvSpPr/>
          <p:nvPr/>
        </p:nvSpPr>
        <p:spPr>
          <a:xfrm>
            <a:off x="4167740" y="5918022"/>
            <a:ext cx="826873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dirty="0">
                <a:solidFill>
                  <a:schemeClr val="bg1">
                    <a:lumMod val="65000"/>
                  </a:schemeClr>
                </a:solidFill>
              </a:rPr>
              <a:t>https://en.wikipedia.org/wiki/Operating-system-level_virtualization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9221478" y="1854123"/>
            <a:ext cx="1615606" cy="1863210"/>
            <a:chOff x="5322772" y="3474720"/>
            <a:chExt cx="1615606" cy="1863210"/>
          </a:xfrm>
        </p:grpSpPr>
        <p:pic>
          <p:nvPicPr>
            <p:cNvPr id="254982" name="Picture 6" descr="https://linuxcontainers.org/static/img/containers.png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85336" y="3474720"/>
              <a:ext cx="1490479" cy="13733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" name="TextBox 4"/>
            <p:cNvSpPr txBox="1"/>
            <p:nvPr/>
          </p:nvSpPr>
          <p:spPr>
            <a:xfrm>
              <a:off x="5322772" y="4876265"/>
              <a:ext cx="1615606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dirty="0" smtClean="0"/>
                <a:t>LXC</a:t>
              </a:r>
              <a:endParaRPr lang="en-US" sz="2400" dirty="0"/>
            </a:p>
          </p:txBody>
        </p:sp>
      </p:grpSp>
      <p:pic>
        <p:nvPicPr>
          <p:cNvPr id="254984" name="Picture 8" descr="https://openvz.org/i/openvz-logo-150px_new_4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83861" y="4103550"/>
            <a:ext cx="1428750" cy="1400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4986" name="Picture 10" descr="https://upload.wikimedia.org/wikipedia/commons/6/61/Linux-VServer-logo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41071" y="618291"/>
            <a:ext cx="1866900" cy="65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4988" name="Picture 12" descr="https://upload.wikimedia.org/wikipedia/en/thumb/3/3b/Solaris_OS_logo.svg/1280px-Solaris_OS_logo.svg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25608" y="4189985"/>
            <a:ext cx="1911476" cy="937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851702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41338" y="4988845"/>
            <a:ext cx="3337561" cy="929177"/>
          </a:xfrm>
        </p:spPr>
        <p:txBody>
          <a:bodyPr/>
          <a:lstStyle/>
          <a:p>
            <a:pPr algn="r">
              <a:spcAft>
                <a:spcPts val="0"/>
              </a:spcAft>
            </a:pPr>
            <a:r>
              <a:rPr lang="en-US" sz="24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Yes, but …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41339" y="576000"/>
            <a:ext cx="3549398" cy="1495794"/>
          </a:xfrm>
        </p:spPr>
        <p:txBody>
          <a:bodyPr/>
          <a:lstStyle/>
          <a:p>
            <a:r>
              <a:rPr lang="nl-BE">
                <a:latin typeface="Segoe UI Semibold" panose="020B0702040204020203" pitchFamily="34" charset="0"/>
                <a:cs typeface="Segoe UI Semibold" panose="020B0702040204020203" pitchFamily="34" charset="0"/>
              </a:rPr>
              <a:t>Run </a:t>
            </a:r>
            <a:r>
              <a:rPr lang="nl-BE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anywhere?</a:t>
            </a:r>
            <a:endParaRPr lang="en-US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254978" name="Picture 2" descr="https://acom.azurecomcdn.net/80C57D/blogmedia/blogmedia/2014/10/15/DockerAndAzureEcosystem_thumb.p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76" r="1930" b="1629"/>
          <a:stretch/>
        </p:blipFill>
        <p:spPr bwMode="auto">
          <a:xfrm>
            <a:off x="4262119" y="1347538"/>
            <a:ext cx="8095058" cy="40426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/>
        </p:nvSpPr>
        <p:spPr>
          <a:xfrm>
            <a:off x="10856382" y="5205482"/>
            <a:ext cx="150079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800" dirty="0">
                <a:solidFill>
                  <a:schemeClr val="bg1">
                    <a:lumMod val="85000"/>
                  </a:schemeClr>
                </a:solidFill>
                <a:latin typeface="+mj-lt"/>
              </a:rPr>
              <a:t>© </a:t>
            </a:r>
            <a:r>
              <a:rPr lang="en-US" sz="1800" dirty="0" smtClean="0">
                <a:solidFill>
                  <a:schemeClr val="bg1">
                    <a:lumMod val="85000"/>
                  </a:schemeClr>
                </a:solidFill>
                <a:latin typeface="+mj-lt"/>
              </a:rPr>
              <a:t>Microsoft</a:t>
            </a:r>
            <a:endParaRPr lang="en-US" sz="1800" dirty="0">
              <a:solidFill>
                <a:schemeClr val="bg1">
                  <a:lumMod val="85000"/>
                </a:schemeClr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5117377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 1"/>
          <p:cNvGraphicFramePr/>
          <p:nvPr>
            <p:extLst>
              <p:ext uri="{D42A27DB-BD31-4B8C-83A1-F6EECF244321}">
                <p14:modId xmlns:p14="http://schemas.microsoft.com/office/powerpoint/2010/main" val="2789222253"/>
              </p:ext>
            </p:extLst>
          </p:nvPr>
        </p:nvGraphicFramePr>
        <p:xfrm>
          <a:off x="1664642" y="461532"/>
          <a:ext cx="9107190" cy="607146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8934280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BE" dirty="0" err="1" smtClean="0">
                <a:solidFill>
                  <a:srgbClr val="3399FF"/>
                </a:solidFill>
              </a:rPr>
              <a:t>Who</a:t>
            </a:r>
            <a:r>
              <a:rPr lang="nl-BE" dirty="0" smtClean="0">
                <a:solidFill>
                  <a:srgbClr val="3399FF"/>
                </a:solidFill>
              </a:rPr>
              <a:t> </a:t>
            </a:r>
            <a:r>
              <a:rPr lang="nl-BE" dirty="0" err="1" smtClean="0">
                <a:solidFill>
                  <a:srgbClr val="3399FF"/>
                </a:solidFill>
              </a:rPr>
              <a:t>am</a:t>
            </a:r>
            <a:r>
              <a:rPr lang="nl-BE" dirty="0" smtClean="0">
                <a:solidFill>
                  <a:srgbClr val="3399FF"/>
                </a:solidFill>
              </a:rPr>
              <a:t> I?</a:t>
            </a:r>
            <a:endParaRPr lang="en-US" dirty="0">
              <a:solidFill>
                <a:srgbClr val="3399FF"/>
              </a:solidFill>
            </a:endParaRPr>
          </a:p>
        </p:txBody>
      </p:sp>
      <p:sp>
        <p:nvSpPr>
          <p:cNvPr id="9" name="Subtitle 8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nl-BE" dirty="0" smtClean="0">
                <a:solidFill>
                  <a:srgbClr val="3399FF"/>
                </a:solidFill>
              </a:rPr>
              <a:t>Pieter Franck</a:t>
            </a:r>
            <a:br>
              <a:rPr lang="nl-BE" dirty="0" smtClean="0">
                <a:solidFill>
                  <a:srgbClr val="3399FF"/>
                </a:solidFill>
              </a:rPr>
            </a:br>
            <a:r>
              <a:rPr lang="nl-BE" dirty="0" smtClean="0">
                <a:solidFill>
                  <a:srgbClr val="3399FF"/>
                </a:solidFill>
              </a:rPr>
              <a:t>Software Engineer</a:t>
            </a:r>
          </a:p>
          <a:p>
            <a:endParaRPr lang="en-US" dirty="0">
              <a:solidFill>
                <a:srgbClr val="3399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8209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"/>
          <p:cNvSpPr txBox="1">
            <a:spLocks/>
          </p:cNvSpPr>
          <p:nvPr/>
        </p:nvSpPr>
        <p:spPr>
          <a:xfrm>
            <a:off x="540000" y="576000"/>
            <a:ext cx="3338981" cy="156752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555132" rtl="0" eaLnBrk="1" latinLnBrk="0" hangingPunct="1">
              <a:spcBef>
                <a:spcPts val="0"/>
              </a:spcBef>
              <a:spcAft>
                <a:spcPts val="1200"/>
              </a:spcAft>
              <a:buFont typeface="Arial"/>
              <a:buNone/>
              <a:defRPr sz="2200" b="0" kern="1200">
                <a:solidFill>
                  <a:schemeClr val="bg1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2pPr marL="0" indent="0" algn="l" defTabSz="555132" rtl="0" eaLnBrk="1" latinLnBrk="0" hangingPunct="1">
              <a:spcBef>
                <a:spcPts val="600"/>
              </a:spcBef>
              <a:buFont typeface="Arial"/>
              <a:buNone/>
              <a:defRPr sz="22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10265" indent="0" algn="l" defTabSz="555132" rtl="0" eaLnBrk="1" latinLnBrk="0" hangingPunct="1">
              <a:spcBef>
                <a:spcPct val="20000"/>
              </a:spcBef>
              <a:buFont typeface="Arial"/>
              <a:buNone/>
              <a:defRPr sz="29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65397" indent="0" algn="l" defTabSz="555132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220529" indent="0" algn="l" defTabSz="555132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3053227" indent="-277566" algn="l" defTabSz="555132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8360" indent="-277566" algn="l" defTabSz="555132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63492" indent="-277566" algn="l" defTabSz="555132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18624" indent="-277566" algn="l" defTabSz="555132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BE" sz="40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Architecture</a:t>
            </a:r>
            <a:endParaRPr lang="en-US" sz="40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8369" y="1395254"/>
            <a:ext cx="8042097" cy="4204017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11095132" y="5696371"/>
            <a:ext cx="121533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800" dirty="0">
                <a:solidFill>
                  <a:schemeClr val="bg1">
                    <a:lumMod val="85000"/>
                  </a:schemeClr>
                </a:solidFill>
                <a:latin typeface="+mj-lt"/>
              </a:rPr>
              <a:t>© </a:t>
            </a:r>
            <a:r>
              <a:rPr lang="en-US" sz="1800" dirty="0" smtClean="0">
                <a:solidFill>
                  <a:schemeClr val="bg1">
                    <a:lumMod val="85000"/>
                  </a:schemeClr>
                </a:solidFill>
                <a:latin typeface="+mj-lt"/>
              </a:rPr>
              <a:t>Docker</a:t>
            </a:r>
            <a:endParaRPr lang="en-US" sz="1800" dirty="0">
              <a:solidFill>
                <a:schemeClr val="bg1">
                  <a:lumMod val="85000"/>
                </a:schemeClr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997389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"/>
          <p:cNvSpPr txBox="1">
            <a:spLocks/>
          </p:cNvSpPr>
          <p:nvPr/>
        </p:nvSpPr>
        <p:spPr>
          <a:xfrm>
            <a:off x="540000" y="576000"/>
            <a:ext cx="3338981" cy="156752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555132" rtl="0" eaLnBrk="1" latinLnBrk="0" hangingPunct="1">
              <a:spcBef>
                <a:spcPts val="0"/>
              </a:spcBef>
              <a:spcAft>
                <a:spcPts val="1200"/>
              </a:spcAft>
              <a:buFont typeface="Arial"/>
              <a:buNone/>
              <a:defRPr sz="2200" b="0" kern="1200">
                <a:solidFill>
                  <a:schemeClr val="bg1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2pPr marL="0" indent="0" algn="l" defTabSz="555132" rtl="0" eaLnBrk="1" latinLnBrk="0" hangingPunct="1">
              <a:spcBef>
                <a:spcPts val="600"/>
              </a:spcBef>
              <a:buFont typeface="Arial"/>
              <a:buNone/>
              <a:defRPr sz="22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10265" indent="0" algn="l" defTabSz="555132" rtl="0" eaLnBrk="1" latinLnBrk="0" hangingPunct="1">
              <a:spcBef>
                <a:spcPct val="20000"/>
              </a:spcBef>
              <a:buFont typeface="Arial"/>
              <a:buNone/>
              <a:defRPr sz="29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65397" indent="0" algn="l" defTabSz="555132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220529" indent="0" algn="l" defTabSz="555132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3053227" indent="-277566" algn="l" defTabSz="555132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8360" indent="-277566" algn="l" defTabSz="555132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63492" indent="-277566" algn="l" defTabSz="555132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18624" indent="-277566" algn="l" defTabSz="555132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BE" sz="4000" dirty="0" err="1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Build</a:t>
            </a:r>
            <a:r>
              <a:rPr lang="nl-BE" sz="40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 …</a:t>
            </a:r>
            <a:endParaRPr lang="en-US" sz="40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41338" y="4988845"/>
            <a:ext cx="3337561" cy="929177"/>
          </a:xfrm>
        </p:spPr>
        <p:txBody>
          <a:bodyPr/>
          <a:lstStyle/>
          <a:p>
            <a:pPr algn="r">
              <a:spcAft>
                <a:spcPts val="0"/>
              </a:spcAft>
            </a:pPr>
            <a:r>
              <a:rPr lang="en-US" sz="32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an image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4265863" y="5606326"/>
            <a:ext cx="8046719" cy="430887"/>
          </a:xfrm>
          <a:prstGeom prst="rect">
            <a:avLst/>
          </a:prstGeom>
          <a:noFill/>
          <a:ln w="25400" cmpd="sng">
            <a:solidFill>
              <a:srgbClr val="3399FF"/>
            </a:solidFill>
            <a:prstDash val="sysDash"/>
          </a:ln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$ </a:t>
            </a:r>
            <a:r>
              <a:rPr lang="en-US" b="1" dirty="0" err="1" smtClean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ocker</a:t>
            </a:r>
            <a:r>
              <a:rPr lang="en-US" b="1" dirty="0" smtClean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build –t my-image:v1 </a:t>
            </a: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.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265863" y="1130255"/>
            <a:ext cx="8046719" cy="3477875"/>
          </a:xfrm>
          <a:prstGeom prst="rect">
            <a:avLst/>
          </a:prstGeom>
          <a:noFill/>
          <a:ln w="25400" cmpd="sng">
            <a:solidFill>
              <a:srgbClr val="3399FF"/>
            </a:solidFill>
            <a:prstDash val="sysDash"/>
          </a:ln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 centos7</a:t>
            </a:r>
          </a:p>
          <a:p>
            <a:endParaRPr lang="en-US" sz="2000" b="1" dirty="0">
              <a:solidFill>
                <a:schemeClr val="tx1">
                  <a:lumMod val="75000"/>
                  <a:lumOff val="25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UN yum -y install java-1.7.0-openjdk-devel.x86_64 </a:t>
            </a:r>
          </a:p>
          <a:p>
            <a:endParaRPr lang="en-US" sz="2000" b="1" dirty="0">
              <a:solidFill>
                <a:schemeClr val="tx1">
                  <a:lumMod val="75000"/>
                  <a:lumOff val="25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DD target/dropwizard-helloworld-1.0-SNAPSHOT.jar /</a:t>
            </a:r>
          </a:p>
          <a:p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DD hello-</a:t>
            </a:r>
            <a:r>
              <a:rPr lang="en-US" sz="20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orld.yml</a:t>
            </a:r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/</a:t>
            </a:r>
          </a:p>
          <a:p>
            <a:endParaRPr lang="en-US" sz="2000" b="1" dirty="0">
              <a:solidFill>
                <a:schemeClr val="tx1">
                  <a:lumMod val="75000"/>
                  <a:lumOff val="25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MD ["java", "-jar", "dropwizard-helloworld-1.0-SNAPSHOT.jar", "server", "hello-</a:t>
            </a:r>
            <a:r>
              <a:rPr lang="en-US" sz="20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orld.yml</a:t>
            </a:r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]</a:t>
            </a:r>
          </a:p>
          <a:p>
            <a:endParaRPr lang="en-US" sz="2000" b="1" dirty="0">
              <a:solidFill>
                <a:schemeClr val="tx1">
                  <a:lumMod val="75000"/>
                  <a:lumOff val="25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POSE 8080</a:t>
            </a:r>
          </a:p>
        </p:txBody>
      </p:sp>
      <p:sp>
        <p:nvSpPr>
          <p:cNvPr id="9" name="Text Placeholder 5"/>
          <p:cNvSpPr txBox="1">
            <a:spLocks/>
          </p:cNvSpPr>
          <p:nvPr/>
        </p:nvSpPr>
        <p:spPr>
          <a:xfrm>
            <a:off x="6620442" y="645074"/>
            <a:ext cx="3337561" cy="36985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555132" rtl="0" eaLnBrk="1" latinLnBrk="0" hangingPunct="1">
              <a:spcBef>
                <a:spcPts val="0"/>
              </a:spcBef>
              <a:spcAft>
                <a:spcPts val="1200"/>
              </a:spcAft>
              <a:buFont typeface="Arial"/>
              <a:buNone/>
              <a:defRPr sz="2200" b="0" kern="1200">
                <a:solidFill>
                  <a:schemeClr val="bg1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2pPr marL="0" indent="0" algn="l" defTabSz="555132" rtl="0" eaLnBrk="1" latinLnBrk="0" hangingPunct="1">
              <a:spcBef>
                <a:spcPts val="600"/>
              </a:spcBef>
              <a:buFont typeface="Arial"/>
              <a:buNone/>
              <a:defRPr sz="22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10265" indent="0" algn="l" defTabSz="555132" rtl="0" eaLnBrk="1" latinLnBrk="0" hangingPunct="1">
              <a:spcBef>
                <a:spcPct val="20000"/>
              </a:spcBef>
              <a:buFont typeface="Arial"/>
              <a:buNone/>
              <a:defRPr sz="29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65397" indent="0" algn="l" defTabSz="555132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220529" indent="0" algn="l" defTabSz="555132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3053227" indent="-277566" algn="l" defTabSz="555132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8360" indent="-277566" algn="l" defTabSz="555132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63492" indent="-277566" algn="l" defTabSz="555132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18624" indent="-277566" algn="l" defTabSz="555132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0"/>
              </a:spcAft>
            </a:pPr>
            <a:r>
              <a:rPr lang="en-US" sz="2400" dirty="0" err="1" smtClean="0">
                <a:solidFill>
                  <a:schemeClr val="bg1">
                    <a:lumMod val="50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ockerfile</a:t>
            </a:r>
            <a:endParaRPr lang="en-US" sz="2400" dirty="0" smtClean="0">
              <a:solidFill>
                <a:schemeClr val="bg1">
                  <a:lumMod val="50000"/>
                </a:schemeClr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0" name="Text Placeholder 5"/>
          <p:cNvSpPr txBox="1">
            <a:spLocks/>
          </p:cNvSpPr>
          <p:nvPr/>
        </p:nvSpPr>
        <p:spPr>
          <a:xfrm>
            <a:off x="6620442" y="5117113"/>
            <a:ext cx="3337561" cy="36985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555132" rtl="0" eaLnBrk="1" latinLnBrk="0" hangingPunct="1">
              <a:spcBef>
                <a:spcPts val="0"/>
              </a:spcBef>
              <a:spcAft>
                <a:spcPts val="1200"/>
              </a:spcAft>
              <a:buFont typeface="Arial"/>
              <a:buNone/>
              <a:defRPr sz="2200" b="0" kern="1200">
                <a:solidFill>
                  <a:schemeClr val="bg1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2pPr marL="0" indent="0" algn="l" defTabSz="555132" rtl="0" eaLnBrk="1" latinLnBrk="0" hangingPunct="1">
              <a:spcBef>
                <a:spcPts val="600"/>
              </a:spcBef>
              <a:buFont typeface="Arial"/>
              <a:buNone/>
              <a:defRPr sz="22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10265" indent="0" algn="l" defTabSz="555132" rtl="0" eaLnBrk="1" latinLnBrk="0" hangingPunct="1">
              <a:spcBef>
                <a:spcPct val="20000"/>
              </a:spcBef>
              <a:buFont typeface="Arial"/>
              <a:buNone/>
              <a:defRPr sz="29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65397" indent="0" algn="l" defTabSz="555132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220529" indent="0" algn="l" defTabSz="555132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3053227" indent="-277566" algn="l" defTabSz="555132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8360" indent="-277566" algn="l" defTabSz="555132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63492" indent="-277566" algn="l" defTabSz="555132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18624" indent="-277566" algn="l" defTabSz="555132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0"/>
              </a:spcAft>
            </a:pPr>
            <a:r>
              <a:rPr lang="en-US" sz="2400" dirty="0" smtClean="0">
                <a:solidFill>
                  <a:schemeClr val="bg1">
                    <a:lumMod val="50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Terminal</a:t>
            </a:r>
          </a:p>
        </p:txBody>
      </p:sp>
    </p:spTree>
    <p:extLst>
      <p:ext uri="{BB962C8B-B14F-4D97-AF65-F5344CB8AC3E}">
        <p14:creationId xmlns:p14="http://schemas.microsoft.com/office/powerpoint/2010/main" val="36259106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1126" name="Picture 6" descr="http://www.pushpullsigns.com/images/push_pull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51" t="18006" r="15748" b="15102"/>
          <a:stretch/>
        </p:blipFill>
        <p:spPr bwMode="auto">
          <a:xfrm>
            <a:off x="4712878" y="2641866"/>
            <a:ext cx="3612356" cy="17660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 Placeholder 1"/>
          <p:cNvSpPr txBox="1">
            <a:spLocks/>
          </p:cNvSpPr>
          <p:nvPr/>
        </p:nvSpPr>
        <p:spPr>
          <a:xfrm>
            <a:off x="540000" y="576000"/>
            <a:ext cx="3338981" cy="156752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555132" rtl="0" eaLnBrk="1" latinLnBrk="0" hangingPunct="1">
              <a:spcBef>
                <a:spcPts val="0"/>
              </a:spcBef>
              <a:spcAft>
                <a:spcPts val="1200"/>
              </a:spcAft>
              <a:buFont typeface="Arial"/>
              <a:buNone/>
              <a:defRPr sz="2200" b="0" kern="1200">
                <a:solidFill>
                  <a:schemeClr val="bg1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2pPr marL="0" indent="0" algn="l" defTabSz="555132" rtl="0" eaLnBrk="1" latinLnBrk="0" hangingPunct="1">
              <a:spcBef>
                <a:spcPts val="600"/>
              </a:spcBef>
              <a:buFont typeface="Arial"/>
              <a:buNone/>
              <a:defRPr sz="22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10265" indent="0" algn="l" defTabSz="555132" rtl="0" eaLnBrk="1" latinLnBrk="0" hangingPunct="1">
              <a:spcBef>
                <a:spcPct val="20000"/>
              </a:spcBef>
              <a:buFont typeface="Arial"/>
              <a:buNone/>
              <a:defRPr sz="29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65397" indent="0" algn="l" defTabSz="555132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220529" indent="0" algn="l" defTabSz="555132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3053227" indent="-277566" algn="l" defTabSz="555132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8360" indent="-277566" algn="l" defTabSz="555132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63492" indent="-277566" algn="l" defTabSz="555132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18624" indent="-277566" algn="l" defTabSz="555132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BE" sz="4000" dirty="0" err="1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Ship</a:t>
            </a:r>
            <a:r>
              <a:rPr lang="nl-BE" sz="40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 …</a:t>
            </a:r>
            <a:endParaRPr lang="en-US" sz="40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3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41338" y="4988845"/>
            <a:ext cx="3337561" cy="929177"/>
          </a:xfrm>
        </p:spPr>
        <p:txBody>
          <a:bodyPr/>
          <a:lstStyle/>
          <a:p>
            <a:pPr algn="r">
              <a:spcAft>
                <a:spcPts val="0"/>
              </a:spcAft>
            </a:pPr>
            <a:r>
              <a:rPr lang="en-US" sz="32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it around</a:t>
            </a:r>
          </a:p>
        </p:txBody>
      </p:sp>
      <p:sp>
        <p:nvSpPr>
          <p:cNvPr id="2" name="Rectangle 1"/>
          <p:cNvSpPr/>
          <p:nvPr/>
        </p:nvSpPr>
        <p:spPr>
          <a:xfrm>
            <a:off x="4158115" y="5949759"/>
            <a:ext cx="827836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dirty="0">
                <a:solidFill>
                  <a:srgbClr val="3399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https://hub.docker.com/</a:t>
            </a:r>
          </a:p>
        </p:txBody>
      </p:sp>
      <p:pic>
        <p:nvPicPr>
          <p:cNvPr id="261122" name="Picture 2" descr="https://www.docker.com/sites/default/files/Registry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19095" y="439636"/>
            <a:ext cx="3175890" cy="31259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/>
          <p:cNvSpPr/>
          <p:nvPr/>
        </p:nvSpPr>
        <p:spPr>
          <a:xfrm>
            <a:off x="4708585" y="830000"/>
            <a:ext cx="292278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dirty="0" smtClean="0">
                <a:solidFill>
                  <a:srgbClr val="3399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ocker registries</a:t>
            </a:r>
            <a:endParaRPr lang="en-US" sz="2800" dirty="0">
              <a:solidFill>
                <a:srgbClr val="3399FF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843960" y="1521174"/>
            <a:ext cx="357482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 smtClean="0">
                <a:solidFill>
                  <a:schemeClr val="bg1">
                    <a:lumMod val="50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.k.a. image repositories</a:t>
            </a:r>
            <a:endParaRPr lang="en-US" sz="2400" dirty="0">
              <a:solidFill>
                <a:schemeClr val="bg1">
                  <a:lumMod val="50000"/>
                </a:schemeClr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261124" name="Picture 4" descr="http://www.patswebdesign.com/wp-content/uploads/2013/07/privacy-policy-icon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07040" y="4537866"/>
            <a:ext cx="1328286" cy="11832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8"/>
          <p:cNvSpPr/>
          <p:nvPr/>
        </p:nvSpPr>
        <p:spPr>
          <a:xfrm>
            <a:off x="8128557" y="4951858"/>
            <a:ext cx="247163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>
                <a:solidFill>
                  <a:schemeClr val="bg1">
                    <a:lumMod val="50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p</a:t>
            </a:r>
            <a:r>
              <a:rPr lang="en-US" sz="2400" dirty="0" smtClean="0">
                <a:solidFill>
                  <a:schemeClr val="bg1">
                    <a:lumMod val="50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ublic or private</a:t>
            </a:r>
            <a:endParaRPr lang="en-US" sz="2400" dirty="0">
              <a:solidFill>
                <a:schemeClr val="bg1">
                  <a:lumMod val="50000"/>
                </a:schemeClr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22247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"/>
          <p:cNvSpPr txBox="1">
            <a:spLocks/>
          </p:cNvSpPr>
          <p:nvPr/>
        </p:nvSpPr>
        <p:spPr>
          <a:xfrm>
            <a:off x="540000" y="576000"/>
            <a:ext cx="3338981" cy="156752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555132" rtl="0" eaLnBrk="1" latinLnBrk="0" hangingPunct="1">
              <a:spcBef>
                <a:spcPts val="0"/>
              </a:spcBef>
              <a:spcAft>
                <a:spcPts val="1200"/>
              </a:spcAft>
              <a:buFont typeface="Arial"/>
              <a:buNone/>
              <a:defRPr sz="2200" b="0" kern="1200">
                <a:solidFill>
                  <a:schemeClr val="bg1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2pPr marL="0" indent="0" algn="l" defTabSz="555132" rtl="0" eaLnBrk="1" latinLnBrk="0" hangingPunct="1">
              <a:spcBef>
                <a:spcPts val="600"/>
              </a:spcBef>
              <a:buFont typeface="Arial"/>
              <a:buNone/>
              <a:defRPr sz="22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10265" indent="0" algn="l" defTabSz="555132" rtl="0" eaLnBrk="1" latinLnBrk="0" hangingPunct="1">
              <a:spcBef>
                <a:spcPct val="20000"/>
              </a:spcBef>
              <a:buFont typeface="Arial"/>
              <a:buNone/>
              <a:defRPr sz="29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65397" indent="0" algn="l" defTabSz="555132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220529" indent="0" algn="l" defTabSz="555132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3053227" indent="-277566" algn="l" defTabSz="555132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8360" indent="-277566" algn="l" defTabSz="555132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63492" indent="-277566" algn="l" defTabSz="555132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18624" indent="-277566" algn="l" defTabSz="555132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40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Multi-layer filesystem</a:t>
            </a:r>
            <a:endParaRPr lang="en-US" sz="40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263170" name="Picture 2" descr="http://docs.master.dockerproject.org/terms/images/docker-filesystems-multilayer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48443" y="350703"/>
            <a:ext cx="7620000" cy="571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10853109" y="5684703"/>
            <a:ext cx="121533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800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© </a:t>
            </a:r>
            <a:r>
              <a:rPr lang="en-US" sz="1800" dirty="0" smtClean="0">
                <a:solidFill>
                  <a:schemeClr val="bg1">
                    <a:lumMod val="75000"/>
                  </a:schemeClr>
                </a:solidFill>
                <a:latin typeface="+mj-lt"/>
              </a:rPr>
              <a:t>Docker</a:t>
            </a:r>
            <a:endParaRPr lang="en-US" sz="1800" dirty="0">
              <a:solidFill>
                <a:schemeClr val="bg1">
                  <a:lumMod val="75000"/>
                </a:schemeClr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8090192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"/>
          <p:cNvSpPr txBox="1">
            <a:spLocks/>
          </p:cNvSpPr>
          <p:nvPr/>
        </p:nvSpPr>
        <p:spPr>
          <a:xfrm>
            <a:off x="540000" y="576000"/>
            <a:ext cx="3338981" cy="156752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555132" rtl="0" eaLnBrk="1" latinLnBrk="0" hangingPunct="1">
              <a:spcBef>
                <a:spcPts val="0"/>
              </a:spcBef>
              <a:spcAft>
                <a:spcPts val="1200"/>
              </a:spcAft>
              <a:buFont typeface="Arial"/>
              <a:buNone/>
              <a:defRPr sz="2200" b="0" kern="1200">
                <a:solidFill>
                  <a:schemeClr val="bg1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2pPr marL="0" indent="0" algn="l" defTabSz="555132" rtl="0" eaLnBrk="1" latinLnBrk="0" hangingPunct="1">
              <a:spcBef>
                <a:spcPts val="600"/>
              </a:spcBef>
              <a:buFont typeface="Arial"/>
              <a:buNone/>
              <a:defRPr sz="22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10265" indent="0" algn="l" defTabSz="555132" rtl="0" eaLnBrk="1" latinLnBrk="0" hangingPunct="1">
              <a:spcBef>
                <a:spcPct val="20000"/>
              </a:spcBef>
              <a:buFont typeface="Arial"/>
              <a:buNone/>
              <a:defRPr sz="29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65397" indent="0" algn="l" defTabSz="555132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220529" indent="0" algn="l" defTabSz="555132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3053227" indent="-277566" algn="l" defTabSz="555132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8360" indent="-277566" algn="l" defTabSz="555132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63492" indent="-277566" algn="l" defTabSz="555132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18624" indent="-277566" algn="l" defTabSz="555132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BE" sz="40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Run …</a:t>
            </a:r>
            <a:endParaRPr lang="en-US" sz="40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3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41338" y="4988845"/>
            <a:ext cx="3337561" cy="929177"/>
          </a:xfrm>
        </p:spPr>
        <p:txBody>
          <a:bodyPr/>
          <a:lstStyle/>
          <a:p>
            <a:pPr algn="r">
              <a:spcAft>
                <a:spcPts val="0"/>
              </a:spcAft>
            </a:pPr>
            <a:r>
              <a:rPr lang="en-US" sz="32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it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658697" y="3009550"/>
            <a:ext cx="7432898" cy="400110"/>
          </a:xfrm>
          <a:prstGeom prst="rect">
            <a:avLst/>
          </a:prstGeom>
          <a:noFill/>
          <a:ln w="25400" cmpd="sng">
            <a:solidFill>
              <a:srgbClr val="3399FF"/>
            </a:solidFill>
            <a:prstDash val="sysDash"/>
          </a:ln>
        </p:spPr>
        <p:txBody>
          <a:bodyPr wrap="square" rtlCol="0">
            <a:spAutoFit/>
          </a:bodyPr>
          <a:lstStyle/>
          <a:p>
            <a:r>
              <a:rPr lang="en-US" sz="2000" b="1" dirty="0" smtClean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$ </a:t>
            </a:r>
            <a:r>
              <a:rPr lang="en-US" sz="2000" b="1" dirty="0" err="1" smtClean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ocker</a:t>
            </a:r>
            <a:r>
              <a:rPr lang="en-US" sz="2000" b="1" dirty="0" smtClean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un -d </a:t>
            </a:r>
            <a:r>
              <a:rPr lang="en-US" sz="2000" b="1" dirty="0" err="1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lasticsearch</a:t>
            </a:r>
            <a:endParaRPr lang="en-US" sz="2000" b="1" dirty="0" smtClean="0">
              <a:solidFill>
                <a:schemeClr val="bg1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7" name="Text Placeholder 5"/>
          <p:cNvSpPr txBox="1">
            <a:spLocks/>
          </p:cNvSpPr>
          <p:nvPr/>
        </p:nvSpPr>
        <p:spPr>
          <a:xfrm>
            <a:off x="6706366" y="2520337"/>
            <a:ext cx="3337561" cy="36985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555132" rtl="0" eaLnBrk="1" latinLnBrk="0" hangingPunct="1">
              <a:spcBef>
                <a:spcPts val="0"/>
              </a:spcBef>
              <a:spcAft>
                <a:spcPts val="1200"/>
              </a:spcAft>
              <a:buFont typeface="Arial"/>
              <a:buNone/>
              <a:defRPr sz="2200" b="0" kern="1200">
                <a:solidFill>
                  <a:schemeClr val="bg1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2pPr marL="0" indent="0" algn="l" defTabSz="555132" rtl="0" eaLnBrk="1" latinLnBrk="0" hangingPunct="1">
              <a:spcBef>
                <a:spcPts val="600"/>
              </a:spcBef>
              <a:buFont typeface="Arial"/>
              <a:buNone/>
              <a:defRPr sz="22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10265" indent="0" algn="l" defTabSz="555132" rtl="0" eaLnBrk="1" latinLnBrk="0" hangingPunct="1">
              <a:spcBef>
                <a:spcPct val="20000"/>
              </a:spcBef>
              <a:buFont typeface="Arial"/>
              <a:buNone/>
              <a:defRPr sz="29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65397" indent="0" algn="l" defTabSz="555132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220529" indent="0" algn="l" defTabSz="555132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3053227" indent="-277566" algn="l" defTabSz="555132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8360" indent="-277566" algn="l" defTabSz="555132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63492" indent="-277566" algn="l" defTabSz="555132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18624" indent="-277566" algn="l" defTabSz="555132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0"/>
              </a:spcAft>
            </a:pPr>
            <a:r>
              <a:rPr lang="en-US" sz="2400" dirty="0" smtClean="0">
                <a:solidFill>
                  <a:schemeClr val="bg1">
                    <a:lumMod val="50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Terminal</a:t>
            </a:r>
          </a:p>
        </p:txBody>
      </p:sp>
    </p:spTree>
    <p:extLst>
      <p:ext uri="{BB962C8B-B14F-4D97-AF65-F5344CB8AC3E}">
        <p14:creationId xmlns:p14="http://schemas.microsoft.com/office/powerpoint/2010/main" val="3109583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"/>
          <p:cNvSpPr txBox="1">
            <a:spLocks/>
          </p:cNvSpPr>
          <p:nvPr/>
        </p:nvSpPr>
        <p:spPr>
          <a:xfrm>
            <a:off x="540000" y="557234"/>
            <a:ext cx="3338981" cy="156752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555132" rtl="0" eaLnBrk="1" latinLnBrk="0" hangingPunct="1">
              <a:spcBef>
                <a:spcPts val="0"/>
              </a:spcBef>
              <a:spcAft>
                <a:spcPts val="1200"/>
              </a:spcAft>
              <a:buFont typeface="Arial"/>
              <a:buNone/>
              <a:defRPr sz="2200" b="0" kern="1200">
                <a:solidFill>
                  <a:schemeClr val="bg1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2pPr marL="0" indent="0" algn="l" defTabSz="555132" rtl="0" eaLnBrk="1" latinLnBrk="0" hangingPunct="1">
              <a:spcBef>
                <a:spcPts val="600"/>
              </a:spcBef>
              <a:buFont typeface="Arial"/>
              <a:buNone/>
              <a:defRPr sz="22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10265" indent="0" algn="l" defTabSz="555132" rtl="0" eaLnBrk="1" latinLnBrk="0" hangingPunct="1">
              <a:spcBef>
                <a:spcPct val="20000"/>
              </a:spcBef>
              <a:buFont typeface="Arial"/>
              <a:buNone/>
              <a:defRPr sz="29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65397" indent="0" algn="l" defTabSz="555132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220529" indent="0" algn="l" defTabSz="555132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3053227" indent="-277566" algn="l" defTabSz="555132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8360" indent="-277566" algn="l" defTabSz="555132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63492" indent="-277566" algn="l" defTabSz="555132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18624" indent="-277566" algn="l" defTabSz="555132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40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A note about persistence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5451515" y="1692397"/>
            <a:ext cx="5545411" cy="4159058"/>
            <a:chOff x="5661365" y="1404032"/>
            <a:chExt cx="5545411" cy="4159058"/>
          </a:xfrm>
        </p:grpSpPr>
        <p:pic>
          <p:nvPicPr>
            <p:cNvPr id="263170" name="Picture 2" descr="http://docs.master.dockerproject.org/terms/images/docker-filesystems-multilayer.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61365" y="1404032"/>
              <a:ext cx="5545411" cy="415905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" name="Rectangle 5"/>
            <p:cNvSpPr/>
            <p:nvPr/>
          </p:nvSpPr>
          <p:spPr>
            <a:xfrm>
              <a:off x="9894623" y="5086942"/>
              <a:ext cx="1215334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800" dirty="0">
                  <a:solidFill>
                    <a:schemeClr val="bg1">
                      <a:lumMod val="75000"/>
                    </a:schemeClr>
                  </a:solidFill>
                  <a:latin typeface="+mj-lt"/>
                </a:rPr>
                <a:t>© </a:t>
              </a:r>
              <a:r>
                <a:rPr lang="en-US" sz="1800" dirty="0" smtClean="0">
                  <a:solidFill>
                    <a:schemeClr val="bg1">
                      <a:lumMod val="75000"/>
                    </a:schemeClr>
                  </a:solidFill>
                  <a:latin typeface="+mj-lt"/>
                </a:rPr>
                <a:t>Docker</a:t>
              </a:r>
              <a:endParaRPr lang="en-US" sz="1800" dirty="0">
                <a:solidFill>
                  <a:schemeClr val="bg1">
                    <a:lumMod val="75000"/>
                  </a:schemeClr>
                </a:solidFill>
                <a:latin typeface="+mj-lt"/>
              </a:endParaRPr>
            </a:p>
          </p:txBody>
        </p:sp>
      </p:grpSp>
      <p:sp>
        <p:nvSpPr>
          <p:cNvPr id="3" name="TextBox 2"/>
          <p:cNvSpPr txBox="1"/>
          <p:nvPr/>
        </p:nvSpPr>
        <p:spPr>
          <a:xfrm>
            <a:off x="5748656" y="769291"/>
            <a:ext cx="495112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 smtClean="0">
                <a:solidFill>
                  <a:schemeClr val="bg1">
                    <a:lumMod val="50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 container is disposable!</a:t>
            </a:r>
            <a:endParaRPr lang="en-US" sz="3200" dirty="0">
              <a:solidFill>
                <a:schemeClr val="bg1">
                  <a:lumMod val="50000"/>
                </a:schemeClr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253956" name="Picture 4" descr="http://cogop.org/wp-content/uploads/2015/10/paying-attention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000" y="2340000"/>
            <a:ext cx="3096085" cy="20604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40000" y="4988845"/>
            <a:ext cx="3096085" cy="929177"/>
          </a:xfrm>
        </p:spPr>
        <p:txBody>
          <a:bodyPr/>
          <a:lstStyle/>
          <a:p>
            <a:pPr>
              <a:spcAft>
                <a:spcPts val="0"/>
              </a:spcAft>
            </a:pPr>
            <a:r>
              <a:rPr lang="en-US" sz="32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So …</a:t>
            </a:r>
          </a:p>
          <a:p>
            <a:pPr algn="r">
              <a:spcAft>
                <a:spcPts val="0"/>
              </a:spcAft>
            </a:pPr>
            <a:r>
              <a:rPr lang="en-US" sz="32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volumes</a:t>
            </a:r>
          </a:p>
          <a:p>
            <a:pPr algn="r">
              <a:spcAft>
                <a:spcPts val="0"/>
              </a:spcAft>
            </a:pPr>
            <a:r>
              <a:rPr lang="en-US" sz="32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build-ship-run</a:t>
            </a:r>
          </a:p>
        </p:txBody>
      </p:sp>
    </p:spTree>
    <p:extLst>
      <p:ext uri="{BB962C8B-B14F-4D97-AF65-F5344CB8AC3E}">
        <p14:creationId xmlns:p14="http://schemas.microsoft.com/office/powerpoint/2010/main" val="11963932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"/>
          <p:cNvSpPr txBox="1">
            <a:spLocks/>
          </p:cNvSpPr>
          <p:nvPr/>
        </p:nvSpPr>
        <p:spPr>
          <a:xfrm>
            <a:off x="540001" y="557235"/>
            <a:ext cx="3225176" cy="13899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555132" rtl="0" eaLnBrk="1" latinLnBrk="0" hangingPunct="1">
              <a:spcBef>
                <a:spcPts val="0"/>
              </a:spcBef>
              <a:spcAft>
                <a:spcPts val="1200"/>
              </a:spcAft>
              <a:buFont typeface="Arial"/>
              <a:buNone/>
              <a:defRPr sz="2200" b="0" kern="1200">
                <a:solidFill>
                  <a:schemeClr val="bg1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2pPr marL="0" indent="0" algn="l" defTabSz="555132" rtl="0" eaLnBrk="1" latinLnBrk="0" hangingPunct="1">
              <a:spcBef>
                <a:spcPts val="600"/>
              </a:spcBef>
              <a:buFont typeface="Arial"/>
              <a:buNone/>
              <a:defRPr sz="22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10265" indent="0" algn="l" defTabSz="555132" rtl="0" eaLnBrk="1" latinLnBrk="0" hangingPunct="1">
              <a:spcBef>
                <a:spcPct val="20000"/>
              </a:spcBef>
              <a:buFont typeface="Arial"/>
              <a:buNone/>
              <a:defRPr sz="29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65397" indent="0" algn="l" defTabSz="555132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220529" indent="0" algn="l" defTabSz="555132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3053227" indent="-277566" algn="l" defTabSz="555132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8360" indent="-277566" algn="l" defTabSz="555132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63492" indent="-277566" algn="l" defTabSz="555132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18624" indent="-277566" algn="l" defTabSz="555132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40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And about networking</a:t>
            </a:r>
          </a:p>
        </p:txBody>
      </p:sp>
      <p:pic>
        <p:nvPicPr>
          <p:cNvPr id="254980" name="Picture 4" descr="http://worldartsme.com/images/your-attention-please-clipart-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002" y="2340000"/>
            <a:ext cx="3096084" cy="19051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4862457" y="1920368"/>
            <a:ext cx="6841863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 smtClean="0">
                <a:solidFill>
                  <a:schemeClr val="bg1">
                    <a:lumMod val="50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It’s pretty isolated …</a:t>
            </a:r>
          </a:p>
          <a:p>
            <a:endParaRPr lang="en-US" sz="3200" dirty="0" smtClean="0">
              <a:solidFill>
                <a:schemeClr val="bg1">
                  <a:lumMod val="50000"/>
                </a:schemeClr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endParaRPr lang="en-US" sz="3200" dirty="0">
              <a:solidFill>
                <a:schemeClr val="bg1">
                  <a:lumMod val="50000"/>
                </a:schemeClr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algn="r"/>
            <a:endParaRPr lang="en-US" sz="3200" dirty="0" smtClean="0">
              <a:solidFill>
                <a:schemeClr val="bg1">
                  <a:lumMod val="50000"/>
                </a:schemeClr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algn="r"/>
            <a:r>
              <a:rPr lang="en-US" sz="3200" dirty="0" smtClean="0">
                <a:solidFill>
                  <a:schemeClr val="bg1">
                    <a:lumMod val="50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by default.</a:t>
            </a:r>
            <a:endParaRPr lang="en-US" sz="3200" dirty="0">
              <a:solidFill>
                <a:schemeClr val="bg1">
                  <a:lumMod val="50000"/>
                </a:schemeClr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40000" y="4988845"/>
            <a:ext cx="3096085" cy="929177"/>
          </a:xfrm>
        </p:spPr>
        <p:txBody>
          <a:bodyPr/>
          <a:lstStyle/>
          <a:p>
            <a:pPr>
              <a:spcAft>
                <a:spcPts val="0"/>
              </a:spcAft>
            </a:pPr>
            <a:r>
              <a:rPr lang="en-US" sz="32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So …</a:t>
            </a:r>
          </a:p>
          <a:p>
            <a:pPr algn="r">
              <a:spcAft>
                <a:spcPts val="0"/>
              </a:spcAft>
            </a:pPr>
            <a:r>
              <a:rPr lang="en-US" sz="3200">
                <a:latin typeface="Segoe UI Semibold" panose="020B0702040204020203" pitchFamily="34" charset="0"/>
                <a:cs typeface="Segoe UI Semibold" panose="020B0702040204020203" pitchFamily="34" charset="0"/>
              </a:rPr>
              <a:t>n</a:t>
            </a:r>
            <a:r>
              <a:rPr lang="en-US" sz="320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etwork drivers</a:t>
            </a:r>
            <a:endParaRPr lang="en-US" sz="3200" dirty="0" smtClean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254982" name="Picture 6" descr="Clipart Illustration Of A White Man Sitting All Alone With A Palm Tree On A Deserted Island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0647"/>
          <a:stretch/>
        </p:blipFill>
        <p:spPr bwMode="auto">
          <a:xfrm>
            <a:off x="9187815" y="910273"/>
            <a:ext cx="2516505" cy="25483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07995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l="-17000" r="-1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473832" y="307614"/>
            <a:ext cx="5488810" cy="9233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nl-BE" sz="5400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ocker in action</a:t>
            </a:r>
            <a:endParaRPr lang="en-US" sz="5400" dirty="0">
              <a:solidFill>
                <a:schemeClr val="bg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081438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6148552" y="1910366"/>
            <a:ext cx="0" cy="1254592"/>
          </a:xfrm>
          <a:prstGeom prst="line">
            <a:avLst/>
          </a:prstGeom>
          <a:ln>
            <a:solidFill>
              <a:schemeClr val="accent1"/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Demo!</a:t>
            </a:r>
            <a:endParaRPr lang="en-US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6" name="Text Placeholder 3"/>
          <p:cNvSpPr txBox="1">
            <a:spLocks/>
          </p:cNvSpPr>
          <p:nvPr/>
        </p:nvSpPr>
        <p:spPr>
          <a:xfrm>
            <a:off x="67378" y="5205413"/>
            <a:ext cx="3811522" cy="12218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555132" rtl="0" eaLnBrk="1" latinLnBrk="0" hangingPunct="1">
              <a:spcBef>
                <a:spcPts val="0"/>
              </a:spcBef>
              <a:spcAft>
                <a:spcPts val="1200"/>
              </a:spcAft>
              <a:buFont typeface="Arial"/>
              <a:buNone/>
              <a:defRPr sz="2200" b="0" kern="1200">
                <a:solidFill>
                  <a:schemeClr val="bg1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2pPr marL="0" indent="0" algn="l" defTabSz="555132" rtl="0" eaLnBrk="1" latinLnBrk="0" hangingPunct="1">
              <a:spcBef>
                <a:spcPts val="600"/>
              </a:spcBef>
              <a:buFont typeface="Arial"/>
              <a:buNone/>
              <a:defRPr sz="22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10265" indent="0" algn="l" defTabSz="555132" rtl="0" eaLnBrk="1" latinLnBrk="0" hangingPunct="1">
              <a:spcBef>
                <a:spcPct val="20000"/>
              </a:spcBef>
              <a:buFont typeface="Arial"/>
              <a:buNone/>
              <a:defRPr sz="29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65397" indent="0" algn="l" defTabSz="555132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220529" indent="0" algn="l" defTabSz="555132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3053227" indent="-277566" algn="l" defTabSz="555132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8360" indent="-277566" algn="l" defTabSz="555132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63492" indent="-277566" algn="l" defTabSz="555132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18624" indent="-277566" algn="l" defTabSz="555132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Aft>
                <a:spcPts val="0"/>
              </a:spcAft>
            </a:pPr>
            <a:r>
              <a:rPr lang="en-US" sz="24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Mixing…</a:t>
            </a:r>
            <a:endParaRPr lang="en-US" sz="24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260102" name="Picture 6" descr="https://www.docker.com/sites/default/files/Engine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81201" y="5345933"/>
            <a:ext cx="1039109" cy="10227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Cloud Callout 6"/>
          <p:cNvSpPr/>
          <p:nvPr/>
        </p:nvSpPr>
        <p:spPr>
          <a:xfrm>
            <a:off x="4379495" y="224887"/>
            <a:ext cx="7844589" cy="6143826"/>
          </a:xfrm>
          <a:prstGeom prst="cloudCallout">
            <a:avLst>
              <a:gd name="adj1" fmla="val 91637"/>
              <a:gd name="adj2" fmla="val -10963"/>
            </a:avLst>
          </a:prstGeom>
          <a:noFill/>
          <a:ln w="34925">
            <a:solidFill>
              <a:srgbClr val="3399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extBox 1"/>
          <p:cNvSpPr txBox="1"/>
          <p:nvPr/>
        </p:nvSpPr>
        <p:spPr>
          <a:xfrm>
            <a:off x="5468568" y="1479479"/>
            <a:ext cx="5609690" cy="430887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solidFill>
              <a:srgbClr val="0066FF"/>
            </a:solidFill>
          </a:ln>
        </p:spPr>
        <p:txBody>
          <a:bodyPr wrap="square" rtlCol="0">
            <a:spAutoFit/>
          </a:bodyPr>
          <a:lstStyle/>
          <a:p>
            <a:r>
              <a:rPr lang="nl-BE" dirty="0" err="1" smtClean="0"/>
              <a:t>zuul</a:t>
            </a:r>
            <a:r>
              <a:rPr lang="nl-BE" dirty="0" smtClean="0"/>
              <a:t> (</a:t>
            </a:r>
            <a:r>
              <a:rPr lang="nl-BE" dirty="0" err="1" smtClean="0"/>
              <a:t>Netflix</a:t>
            </a:r>
            <a:r>
              <a:rPr lang="nl-BE" dirty="0" smtClean="0"/>
              <a:t> Reverse proxy) Java</a:t>
            </a:r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5468568" y="2082131"/>
            <a:ext cx="5609690" cy="430887"/>
          </a:xfrm>
          <a:prstGeom prst="rect">
            <a:avLst/>
          </a:prstGeom>
          <a:solidFill>
            <a:srgbClr val="FF0000">
              <a:alpha val="47000"/>
            </a:srgbClr>
          </a:solidFill>
          <a:ln>
            <a:solidFill>
              <a:srgbClr val="0066FF"/>
            </a:solidFill>
          </a:ln>
        </p:spPr>
        <p:txBody>
          <a:bodyPr wrap="square" rtlCol="0">
            <a:spAutoFit/>
          </a:bodyPr>
          <a:lstStyle/>
          <a:p>
            <a:r>
              <a:rPr lang="nl-BE" dirty="0" smtClean="0"/>
              <a:t>Web - </a:t>
            </a:r>
            <a:r>
              <a:rPr lang="nl-BE" dirty="0" err="1" smtClean="0"/>
              <a:t>Angular</a:t>
            </a:r>
            <a:endParaRPr lang="nl-BE" dirty="0"/>
          </a:p>
        </p:txBody>
      </p:sp>
      <p:sp>
        <p:nvSpPr>
          <p:cNvPr id="20" name="TextBox 19"/>
          <p:cNvSpPr txBox="1"/>
          <p:nvPr/>
        </p:nvSpPr>
        <p:spPr>
          <a:xfrm>
            <a:off x="5468568" y="3164958"/>
            <a:ext cx="2519294" cy="769441"/>
          </a:xfrm>
          <a:prstGeom prst="rect">
            <a:avLst/>
          </a:prstGeom>
          <a:solidFill>
            <a:srgbClr val="3399FF"/>
          </a:solidFill>
          <a:ln>
            <a:solidFill>
              <a:srgbClr val="0066FF"/>
            </a:solidFill>
          </a:ln>
        </p:spPr>
        <p:txBody>
          <a:bodyPr wrap="square" rtlCol="0">
            <a:spAutoFit/>
          </a:bodyPr>
          <a:lstStyle/>
          <a:p>
            <a:r>
              <a:rPr lang="nl-BE" dirty="0" err="1" smtClean="0"/>
              <a:t>Catalog</a:t>
            </a:r>
            <a:endParaRPr lang="nl-BE" dirty="0" smtClean="0"/>
          </a:p>
          <a:p>
            <a:r>
              <a:rPr lang="nl-BE" dirty="0" smtClean="0"/>
              <a:t>.NET </a:t>
            </a:r>
            <a:r>
              <a:rPr lang="nl-BE" dirty="0" err="1" smtClean="0"/>
              <a:t>Core</a:t>
            </a:r>
            <a:r>
              <a:rPr lang="nl-BE" dirty="0"/>
              <a:t> </a:t>
            </a:r>
            <a:r>
              <a:rPr lang="nl-BE" dirty="0" smtClean="0"/>
              <a:t>1.0</a:t>
            </a:r>
            <a:endParaRPr lang="nl-BE" dirty="0"/>
          </a:p>
        </p:txBody>
      </p:sp>
      <p:sp>
        <p:nvSpPr>
          <p:cNvPr id="21" name="TextBox 20"/>
          <p:cNvSpPr txBox="1"/>
          <p:nvPr/>
        </p:nvSpPr>
        <p:spPr>
          <a:xfrm>
            <a:off x="8558964" y="3166302"/>
            <a:ext cx="2519294" cy="769441"/>
          </a:xfrm>
          <a:prstGeom prst="rect">
            <a:avLst/>
          </a:prstGeom>
          <a:solidFill>
            <a:srgbClr val="00B050"/>
          </a:solidFill>
          <a:ln>
            <a:solidFill>
              <a:srgbClr val="0066FF"/>
            </a:solidFill>
          </a:ln>
        </p:spPr>
        <p:txBody>
          <a:bodyPr wrap="square" rtlCol="0">
            <a:spAutoFit/>
          </a:bodyPr>
          <a:lstStyle/>
          <a:p>
            <a:r>
              <a:rPr lang="nl-BE" dirty="0" smtClean="0"/>
              <a:t>Cart</a:t>
            </a:r>
          </a:p>
          <a:p>
            <a:r>
              <a:rPr lang="nl-BE" dirty="0" err="1" smtClean="0"/>
              <a:t>Nodejs</a:t>
            </a:r>
            <a:endParaRPr lang="nl-BE" dirty="0" smtClean="0"/>
          </a:p>
        </p:txBody>
      </p:sp>
      <p:cxnSp>
        <p:nvCxnSpPr>
          <p:cNvPr id="22" name="Straight Connector 21"/>
          <p:cNvCxnSpPr/>
          <p:nvPr/>
        </p:nvCxnSpPr>
        <p:spPr>
          <a:xfrm>
            <a:off x="9818611" y="1911710"/>
            <a:ext cx="0" cy="1254592"/>
          </a:xfrm>
          <a:prstGeom prst="line">
            <a:avLst/>
          </a:prstGeom>
          <a:ln>
            <a:solidFill>
              <a:schemeClr val="accent1"/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>
            <a:endCxn id="14" idx="0"/>
          </p:cNvCxnSpPr>
          <p:nvPr/>
        </p:nvCxnSpPr>
        <p:spPr>
          <a:xfrm>
            <a:off x="8273413" y="1911710"/>
            <a:ext cx="0" cy="170421"/>
          </a:xfrm>
          <a:prstGeom prst="line">
            <a:avLst/>
          </a:prstGeom>
          <a:ln>
            <a:solidFill>
              <a:schemeClr val="accent1"/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8558964" y="4204306"/>
            <a:ext cx="2519294" cy="430887"/>
          </a:xfrm>
          <a:prstGeom prst="rect">
            <a:avLst/>
          </a:prstGeom>
          <a:solidFill>
            <a:srgbClr val="00B050"/>
          </a:solidFill>
          <a:ln>
            <a:solidFill>
              <a:srgbClr val="0066FF"/>
            </a:solidFill>
          </a:ln>
        </p:spPr>
        <p:txBody>
          <a:bodyPr wrap="square" rtlCol="0">
            <a:spAutoFit/>
          </a:bodyPr>
          <a:lstStyle/>
          <a:p>
            <a:r>
              <a:rPr lang="nl-BE" dirty="0" err="1" smtClean="0"/>
              <a:t>Redis</a:t>
            </a:r>
            <a:r>
              <a:rPr lang="nl-BE" dirty="0" smtClean="0"/>
              <a:t> (</a:t>
            </a:r>
            <a:r>
              <a:rPr lang="nl-BE" dirty="0" err="1" smtClean="0"/>
              <a:t>Session</a:t>
            </a:r>
            <a:r>
              <a:rPr lang="nl-BE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3347427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Go </a:t>
            </a:r>
            <a:r>
              <a:rPr lang="nl-BE" dirty="0" err="1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explore</a:t>
            </a:r>
            <a:r>
              <a:rPr lang="nl-BE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!</a:t>
            </a:r>
            <a:endParaRPr lang="en-US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6" name="Text Placeholder 3"/>
          <p:cNvSpPr txBox="1">
            <a:spLocks/>
          </p:cNvSpPr>
          <p:nvPr/>
        </p:nvSpPr>
        <p:spPr>
          <a:xfrm>
            <a:off x="67378" y="5205413"/>
            <a:ext cx="3811522" cy="12218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555132" rtl="0" eaLnBrk="1" latinLnBrk="0" hangingPunct="1">
              <a:spcBef>
                <a:spcPts val="0"/>
              </a:spcBef>
              <a:spcAft>
                <a:spcPts val="1200"/>
              </a:spcAft>
              <a:buFont typeface="Arial"/>
              <a:buNone/>
              <a:defRPr sz="2200" b="0" kern="1200">
                <a:solidFill>
                  <a:schemeClr val="bg1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2pPr marL="0" indent="0" algn="l" defTabSz="555132" rtl="0" eaLnBrk="1" latinLnBrk="0" hangingPunct="1">
              <a:spcBef>
                <a:spcPts val="600"/>
              </a:spcBef>
              <a:buFont typeface="Arial"/>
              <a:buNone/>
              <a:defRPr sz="22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10265" indent="0" algn="l" defTabSz="555132" rtl="0" eaLnBrk="1" latinLnBrk="0" hangingPunct="1">
              <a:spcBef>
                <a:spcPct val="20000"/>
              </a:spcBef>
              <a:buFont typeface="Arial"/>
              <a:buNone/>
              <a:defRPr sz="29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65397" indent="0" algn="l" defTabSz="555132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220529" indent="0" algn="l" defTabSz="555132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3053227" indent="-277566" algn="l" defTabSz="555132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8360" indent="-277566" algn="l" defTabSz="555132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63492" indent="-277566" algn="l" defTabSz="555132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18624" indent="-277566" algn="l" defTabSz="555132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Aft>
                <a:spcPts val="0"/>
              </a:spcAft>
            </a:pPr>
            <a:r>
              <a:rPr lang="en-US" sz="24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The toolbox …</a:t>
            </a:r>
            <a:endParaRPr lang="en-US" sz="24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260102" name="Picture 6" descr="https://www.docker.com/sites/default/files/Engine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81201" y="5345933"/>
            <a:ext cx="1039109" cy="10227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0108" name="Picture 12" descr="https://www.docker.com/sites/default/files/docker_toolbox_banner_icon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7250" y="2144804"/>
            <a:ext cx="2815373" cy="2279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Cloud Callout 6"/>
          <p:cNvSpPr/>
          <p:nvPr/>
        </p:nvSpPr>
        <p:spPr>
          <a:xfrm>
            <a:off x="4379495" y="224887"/>
            <a:ext cx="7844589" cy="6143826"/>
          </a:xfrm>
          <a:prstGeom prst="cloudCallout">
            <a:avLst>
              <a:gd name="adj1" fmla="val 91637"/>
              <a:gd name="adj2" fmla="val -10963"/>
            </a:avLst>
          </a:prstGeom>
          <a:noFill/>
          <a:ln w="34925">
            <a:solidFill>
              <a:srgbClr val="3399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7932844" y="4685607"/>
            <a:ext cx="1292340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>
              <a:spcAft>
                <a:spcPts val="0"/>
              </a:spcAft>
            </a:pPr>
            <a:r>
              <a:rPr lang="en-US" sz="2800" dirty="0" smtClean="0">
                <a:solidFill>
                  <a:schemeClr val="bg1">
                    <a:lumMod val="50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Engine</a:t>
            </a:r>
            <a:endParaRPr lang="en-US" sz="2000" dirty="0" smtClean="0">
              <a:solidFill>
                <a:schemeClr val="bg1">
                  <a:lumMod val="50000"/>
                </a:schemeClr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9137651" y="1261179"/>
            <a:ext cx="1284904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>
              <a:spcAft>
                <a:spcPts val="0"/>
              </a:spcAft>
            </a:pPr>
            <a:r>
              <a:rPr lang="en-US" sz="2800" dirty="0" smtClean="0">
                <a:solidFill>
                  <a:schemeClr val="bg1">
                    <a:lumMod val="50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Swarm</a:t>
            </a:r>
          </a:p>
        </p:txBody>
      </p:sp>
      <p:sp>
        <p:nvSpPr>
          <p:cNvPr id="16" name="Rectangle 15"/>
          <p:cNvSpPr/>
          <p:nvPr/>
        </p:nvSpPr>
        <p:spPr>
          <a:xfrm>
            <a:off x="4928304" y="2724599"/>
            <a:ext cx="171713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>
              <a:spcAft>
                <a:spcPts val="0"/>
              </a:spcAft>
            </a:pPr>
            <a:r>
              <a:rPr lang="en-US" sz="2800" dirty="0" smtClean="0">
                <a:solidFill>
                  <a:schemeClr val="bg1">
                    <a:lumMod val="50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Compose</a:t>
            </a:r>
          </a:p>
        </p:txBody>
      </p:sp>
      <p:sp>
        <p:nvSpPr>
          <p:cNvPr id="17" name="Rectangle 16"/>
          <p:cNvSpPr/>
          <p:nvPr/>
        </p:nvSpPr>
        <p:spPr>
          <a:xfrm>
            <a:off x="9841814" y="2666084"/>
            <a:ext cx="1576073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>
              <a:spcAft>
                <a:spcPts val="0"/>
              </a:spcAft>
            </a:pPr>
            <a:r>
              <a:rPr lang="en-US" sz="2800" dirty="0" smtClean="0">
                <a:solidFill>
                  <a:schemeClr val="bg1">
                    <a:lumMod val="50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Machine</a:t>
            </a:r>
          </a:p>
        </p:txBody>
      </p:sp>
      <p:sp>
        <p:nvSpPr>
          <p:cNvPr id="18" name="Rectangle 17"/>
          <p:cNvSpPr/>
          <p:nvPr/>
        </p:nvSpPr>
        <p:spPr>
          <a:xfrm>
            <a:off x="5661479" y="4126295"/>
            <a:ext cx="1515223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>
              <a:spcAft>
                <a:spcPts val="0"/>
              </a:spcAft>
            </a:pPr>
            <a:r>
              <a:rPr lang="en-US" sz="2800" dirty="0" smtClean="0">
                <a:solidFill>
                  <a:schemeClr val="bg1">
                    <a:lumMod val="50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Registry</a:t>
            </a:r>
          </a:p>
        </p:txBody>
      </p:sp>
      <p:sp>
        <p:nvSpPr>
          <p:cNvPr id="19" name="Rectangle 18"/>
          <p:cNvSpPr/>
          <p:nvPr/>
        </p:nvSpPr>
        <p:spPr>
          <a:xfrm>
            <a:off x="6137441" y="1668209"/>
            <a:ext cx="1715021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>
              <a:spcAft>
                <a:spcPts val="0"/>
              </a:spcAft>
            </a:pPr>
            <a:r>
              <a:rPr lang="en-US" sz="2800" dirty="0" err="1" smtClean="0">
                <a:solidFill>
                  <a:schemeClr val="bg1">
                    <a:lumMod val="50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Kitematic</a:t>
            </a:r>
            <a:endParaRPr lang="en-US" sz="2800" dirty="0" smtClean="0">
              <a:solidFill>
                <a:schemeClr val="bg1">
                  <a:lumMod val="50000"/>
                </a:schemeClr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9948803" y="3963986"/>
            <a:ext cx="1222451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>
              <a:spcAft>
                <a:spcPts val="0"/>
              </a:spcAft>
            </a:pPr>
            <a:r>
              <a:rPr lang="en-US" sz="2800" dirty="0" err="1" smtClean="0">
                <a:solidFill>
                  <a:schemeClr val="bg1">
                    <a:lumMod val="50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Tutum</a:t>
            </a:r>
            <a:endParaRPr lang="en-US" sz="2800" dirty="0" smtClean="0">
              <a:solidFill>
                <a:schemeClr val="bg1">
                  <a:lumMod val="50000"/>
                </a:schemeClr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227939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BE" dirty="0" err="1" smtClean="0">
                <a:solidFill>
                  <a:srgbClr val="3399FF"/>
                </a:solidFill>
              </a:rPr>
              <a:t>Who</a:t>
            </a:r>
            <a:r>
              <a:rPr lang="nl-BE" dirty="0" smtClean="0">
                <a:solidFill>
                  <a:srgbClr val="3399FF"/>
                </a:solidFill>
              </a:rPr>
              <a:t> </a:t>
            </a:r>
            <a:r>
              <a:rPr lang="nl-BE" dirty="0" err="1" smtClean="0">
                <a:solidFill>
                  <a:srgbClr val="3399FF"/>
                </a:solidFill>
              </a:rPr>
              <a:t>am</a:t>
            </a:r>
            <a:r>
              <a:rPr lang="nl-BE" dirty="0" smtClean="0">
                <a:solidFill>
                  <a:srgbClr val="3399FF"/>
                </a:solidFill>
              </a:rPr>
              <a:t> I?</a:t>
            </a:r>
            <a:endParaRPr lang="en-US" dirty="0">
              <a:solidFill>
                <a:srgbClr val="3399FF"/>
              </a:solidFill>
            </a:endParaRPr>
          </a:p>
        </p:txBody>
      </p:sp>
      <p:sp>
        <p:nvSpPr>
          <p:cNvPr id="9" name="Subtitle 8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nl-BE" dirty="0" smtClean="0">
                <a:solidFill>
                  <a:srgbClr val="3399FF"/>
                </a:solidFill>
              </a:rPr>
              <a:t>Steve Cleynen</a:t>
            </a:r>
            <a:br>
              <a:rPr lang="nl-BE" dirty="0" smtClean="0">
                <a:solidFill>
                  <a:srgbClr val="3399FF"/>
                </a:solidFill>
              </a:rPr>
            </a:br>
            <a:r>
              <a:rPr lang="nl-BE" dirty="0" smtClean="0">
                <a:solidFill>
                  <a:srgbClr val="3399FF"/>
                </a:solidFill>
              </a:rPr>
              <a:t>Software Engineer</a:t>
            </a:r>
          </a:p>
          <a:p>
            <a:r>
              <a:rPr lang="nl-BE" dirty="0" smtClean="0">
                <a:solidFill>
                  <a:srgbClr val="3399FF"/>
                </a:solidFill>
              </a:rPr>
              <a:t>@</a:t>
            </a:r>
            <a:r>
              <a:rPr lang="nl-BE" dirty="0" err="1" smtClean="0">
                <a:solidFill>
                  <a:srgbClr val="3399FF"/>
                </a:solidFill>
              </a:rPr>
              <a:t>stevecleynen</a:t>
            </a:r>
            <a:endParaRPr lang="en-US" dirty="0">
              <a:solidFill>
                <a:srgbClr val="3399FF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2252" y="729777"/>
            <a:ext cx="1524000" cy="1524000"/>
          </a:xfrm>
          <a:prstGeom prst="rect">
            <a:avLst/>
          </a:prstGeom>
          <a:effectLst>
            <a:softEdge rad="31750"/>
          </a:effectLst>
        </p:spPr>
      </p:pic>
    </p:spTree>
    <p:extLst>
      <p:ext uri="{BB962C8B-B14F-4D97-AF65-F5344CB8AC3E}">
        <p14:creationId xmlns:p14="http://schemas.microsoft.com/office/powerpoint/2010/main" val="34798395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Go </a:t>
            </a:r>
            <a:r>
              <a:rPr lang="nl-BE" dirty="0" err="1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explore</a:t>
            </a:r>
            <a:r>
              <a:rPr lang="nl-BE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!</a:t>
            </a:r>
            <a:endParaRPr lang="en-US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6" name="Text Placeholder 3"/>
          <p:cNvSpPr txBox="1">
            <a:spLocks/>
          </p:cNvSpPr>
          <p:nvPr/>
        </p:nvSpPr>
        <p:spPr>
          <a:xfrm>
            <a:off x="67378" y="5205413"/>
            <a:ext cx="3811522" cy="12218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555132" rtl="0" eaLnBrk="1" latinLnBrk="0" hangingPunct="1">
              <a:spcBef>
                <a:spcPts val="0"/>
              </a:spcBef>
              <a:spcAft>
                <a:spcPts val="1200"/>
              </a:spcAft>
              <a:buFont typeface="Arial"/>
              <a:buNone/>
              <a:defRPr sz="2200" b="0" kern="1200">
                <a:solidFill>
                  <a:schemeClr val="bg1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2pPr marL="0" indent="0" algn="l" defTabSz="555132" rtl="0" eaLnBrk="1" latinLnBrk="0" hangingPunct="1">
              <a:spcBef>
                <a:spcPts val="600"/>
              </a:spcBef>
              <a:buFont typeface="Arial"/>
              <a:buNone/>
              <a:defRPr sz="22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10265" indent="0" algn="l" defTabSz="555132" rtl="0" eaLnBrk="1" latinLnBrk="0" hangingPunct="1">
              <a:spcBef>
                <a:spcPct val="20000"/>
              </a:spcBef>
              <a:buFont typeface="Arial"/>
              <a:buNone/>
              <a:defRPr sz="29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65397" indent="0" algn="l" defTabSz="555132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220529" indent="0" algn="l" defTabSz="555132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3053227" indent="-277566" algn="l" defTabSz="555132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8360" indent="-277566" algn="l" defTabSz="555132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63492" indent="-277566" algn="l" defTabSz="555132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18624" indent="-277566" algn="l" defTabSz="555132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Aft>
                <a:spcPts val="0"/>
              </a:spcAft>
            </a:pPr>
            <a:r>
              <a:rPr lang="en-US" sz="24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The ecosystem …</a:t>
            </a:r>
            <a:endParaRPr lang="en-US" sz="24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8" name="Picture 2" descr="https://www.ctl.io/developers/assets/images/blog/docker-ecosystem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61988" y="404262"/>
            <a:ext cx="7715539" cy="57866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200476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41339" y="586337"/>
            <a:ext cx="3337560" cy="759578"/>
          </a:xfrm>
        </p:spPr>
        <p:txBody>
          <a:bodyPr/>
          <a:lstStyle/>
          <a:p>
            <a:r>
              <a:rPr lang="nl-BE" dirty="0" err="1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And</a:t>
            </a:r>
            <a:r>
              <a:rPr lang="nl-BE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nl-BE" dirty="0" err="1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remember</a:t>
            </a:r>
            <a:endParaRPr lang="en-US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488252" y="713337"/>
            <a:ext cx="7777970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spcBef>
                <a:spcPts val="1200"/>
              </a:spcBef>
              <a:buFont typeface="+mj-lt"/>
              <a:buAutoNum type="arabicPeriod"/>
            </a:pPr>
            <a:r>
              <a:rPr lang="nl-BE" sz="2400" dirty="0" smtClean="0">
                <a:solidFill>
                  <a:schemeClr val="bg1">
                    <a:lumMod val="65000"/>
                  </a:schemeClr>
                </a:solidFill>
              </a:rPr>
              <a:t>No more “It </a:t>
            </a:r>
            <a:r>
              <a:rPr lang="nl-BE" sz="2400" dirty="0" err="1" smtClean="0">
                <a:solidFill>
                  <a:schemeClr val="bg1">
                    <a:lumMod val="65000"/>
                  </a:schemeClr>
                </a:solidFill>
              </a:rPr>
              <a:t>works</a:t>
            </a:r>
            <a:r>
              <a:rPr lang="nl-BE" sz="2400" dirty="0" smtClean="0">
                <a:solidFill>
                  <a:schemeClr val="bg1">
                    <a:lumMod val="65000"/>
                  </a:schemeClr>
                </a:solidFill>
              </a:rPr>
              <a:t> on </a:t>
            </a:r>
            <a:r>
              <a:rPr lang="nl-BE" sz="2400" dirty="0" err="1" smtClean="0">
                <a:solidFill>
                  <a:schemeClr val="bg1">
                    <a:lumMod val="65000"/>
                  </a:schemeClr>
                </a:solidFill>
              </a:rPr>
              <a:t>my</a:t>
            </a:r>
            <a:r>
              <a:rPr lang="nl-BE" sz="2400" dirty="0" smtClean="0">
                <a:solidFill>
                  <a:schemeClr val="bg1">
                    <a:lumMod val="65000"/>
                  </a:schemeClr>
                </a:solidFill>
              </a:rPr>
              <a:t> machine”</a:t>
            </a:r>
          </a:p>
          <a:p>
            <a:endParaRPr lang="en-US" dirty="0"/>
          </a:p>
        </p:txBody>
      </p:sp>
      <p:pic>
        <p:nvPicPr>
          <p:cNvPr id="257028" name="Picture 4" descr="https://cdn-images-1.medium.com/max/800/1*rh-TI7GtzOmMigS_UVq1PA.jpe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8252" y="3147147"/>
            <a:ext cx="4376539" cy="28542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http://devopscube.com/wp-content/uploads/2014/12/devops-container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59872" y="1311926"/>
            <a:ext cx="3613041" cy="20368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196925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41339" y="586337"/>
            <a:ext cx="3337560" cy="759578"/>
          </a:xfrm>
        </p:spPr>
        <p:txBody>
          <a:bodyPr/>
          <a:lstStyle/>
          <a:p>
            <a:r>
              <a:rPr lang="nl-BE" dirty="0" err="1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And</a:t>
            </a:r>
            <a:r>
              <a:rPr lang="nl-BE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nl-BE" dirty="0" err="1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remember</a:t>
            </a:r>
            <a:endParaRPr lang="en-US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488252" y="713337"/>
            <a:ext cx="777797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spcBef>
                <a:spcPts val="1200"/>
              </a:spcBef>
              <a:buFont typeface="+mj-lt"/>
              <a:buAutoNum type="arabicPeriod"/>
            </a:pPr>
            <a:r>
              <a:rPr lang="nl-BE" sz="2400" dirty="0" smtClean="0">
                <a:solidFill>
                  <a:schemeClr val="bg1">
                    <a:lumMod val="65000"/>
                  </a:schemeClr>
                </a:solidFill>
              </a:rPr>
              <a:t>No more “It </a:t>
            </a:r>
            <a:r>
              <a:rPr lang="nl-BE" sz="2400" dirty="0" err="1" smtClean="0">
                <a:solidFill>
                  <a:schemeClr val="bg1">
                    <a:lumMod val="65000"/>
                  </a:schemeClr>
                </a:solidFill>
              </a:rPr>
              <a:t>works</a:t>
            </a:r>
            <a:r>
              <a:rPr lang="nl-BE" sz="2400" dirty="0" smtClean="0">
                <a:solidFill>
                  <a:schemeClr val="bg1">
                    <a:lumMod val="65000"/>
                  </a:schemeClr>
                </a:solidFill>
              </a:rPr>
              <a:t> on </a:t>
            </a:r>
            <a:r>
              <a:rPr lang="nl-BE" sz="2400" dirty="0" err="1" smtClean="0">
                <a:solidFill>
                  <a:schemeClr val="bg1">
                    <a:lumMod val="65000"/>
                  </a:schemeClr>
                </a:solidFill>
              </a:rPr>
              <a:t>my</a:t>
            </a:r>
            <a:r>
              <a:rPr lang="nl-BE" sz="2400" dirty="0" smtClean="0">
                <a:solidFill>
                  <a:schemeClr val="bg1">
                    <a:lumMod val="65000"/>
                  </a:schemeClr>
                </a:solidFill>
              </a:rPr>
              <a:t> machine”</a:t>
            </a:r>
          </a:p>
          <a:p>
            <a:pPr marL="457200" indent="-457200">
              <a:spcBef>
                <a:spcPts val="1200"/>
              </a:spcBef>
              <a:buFont typeface="+mj-lt"/>
              <a:buAutoNum type="arabicPeriod"/>
            </a:pPr>
            <a:r>
              <a:rPr lang="nl-BE" sz="2400" dirty="0" err="1" smtClean="0">
                <a:solidFill>
                  <a:schemeClr val="bg1">
                    <a:lumMod val="65000"/>
                  </a:schemeClr>
                </a:solidFill>
              </a:rPr>
              <a:t>Easily</a:t>
            </a:r>
            <a:r>
              <a:rPr lang="nl-BE" sz="2400" dirty="0" smtClean="0">
                <a:solidFill>
                  <a:schemeClr val="bg1">
                    <a:lumMod val="65000"/>
                  </a:schemeClr>
                </a:solidFill>
              </a:rPr>
              <a:t> </a:t>
            </a:r>
            <a:r>
              <a:rPr lang="nl-BE" sz="2400" dirty="0" err="1" smtClean="0">
                <a:solidFill>
                  <a:schemeClr val="bg1">
                    <a:lumMod val="65000"/>
                  </a:schemeClr>
                </a:solidFill>
              </a:rPr>
              <a:t>try</a:t>
            </a:r>
            <a:r>
              <a:rPr lang="nl-BE" sz="2400" dirty="0" smtClean="0">
                <a:solidFill>
                  <a:schemeClr val="bg1">
                    <a:lumMod val="65000"/>
                  </a:schemeClr>
                </a:solidFill>
              </a:rPr>
              <a:t> out new </a:t>
            </a:r>
            <a:r>
              <a:rPr lang="nl-BE" sz="2400" dirty="0" err="1" smtClean="0">
                <a:solidFill>
                  <a:schemeClr val="bg1">
                    <a:lumMod val="65000"/>
                  </a:schemeClr>
                </a:solidFill>
              </a:rPr>
              <a:t>versions</a:t>
            </a:r>
            <a:r>
              <a:rPr lang="nl-BE" sz="2400" dirty="0" smtClean="0">
                <a:solidFill>
                  <a:schemeClr val="bg1">
                    <a:lumMod val="65000"/>
                  </a:schemeClr>
                </a:solidFill>
              </a:rPr>
              <a:t>, tools,…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00883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41339" y="586337"/>
            <a:ext cx="3337560" cy="759578"/>
          </a:xfrm>
        </p:spPr>
        <p:txBody>
          <a:bodyPr/>
          <a:lstStyle/>
          <a:p>
            <a:r>
              <a:rPr lang="nl-BE" dirty="0" err="1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And</a:t>
            </a:r>
            <a:r>
              <a:rPr lang="nl-BE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nl-BE" dirty="0" err="1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remember</a:t>
            </a:r>
            <a:endParaRPr lang="en-US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488252" y="713337"/>
            <a:ext cx="7777970" cy="18466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spcBef>
                <a:spcPts val="1200"/>
              </a:spcBef>
              <a:buFont typeface="+mj-lt"/>
              <a:buAutoNum type="arabicPeriod"/>
            </a:pPr>
            <a:r>
              <a:rPr lang="nl-BE" sz="2400" dirty="0" smtClean="0">
                <a:solidFill>
                  <a:schemeClr val="bg1">
                    <a:lumMod val="65000"/>
                  </a:schemeClr>
                </a:solidFill>
              </a:rPr>
              <a:t>No more “It </a:t>
            </a:r>
            <a:r>
              <a:rPr lang="nl-BE" sz="2400" dirty="0" err="1" smtClean="0">
                <a:solidFill>
                  <a:schemeClr val="bg1">
                    <a:lumMod val="65000"/>
                  </a:schemeClr>
                </a:solidFill>
              </a:rPr>
              <a:t>works</a:t>
            </a:r>
            <a:r>
              <a:rPr lang="nl-BE" sz="2400" dirty="0" smtClean="0">
                <a:solidFill>
                  <a:schemeClr val="bg1">
                    <a:lumMod val="65000"/>
                  </a:schemeClr>
                </a:solidFill>
              </a:rPr>
              <a:t> on </a:t>
            </a:r>
            <a:r>
              <a:rPr lang="nl-BE" sz="2400" dirty="0" err="1" smtClean="0">
                <a:solidFill>
                  <a:schemeClr val="bg1">
                    <a:lumMod val="65000"/>
                  </a:schemeClr>
                </a:solidFill>
              </a:rPr>
              <a:t>my</a:t>
            </a:r>
            <a:r>
              <a:rPr lang="nl-BE" sz="2400" dirty="0" smtClean="0">
                <a:solidFill>
                  <a:schemeClr val="bg1">
                    <a:lumMod val="65000"/>
                  </a:schemeClr>
                </a:solidFill>
              </a:rPr>
              <a:t> machine”</a:t>
            </a:r>
          </a:p>
          <a:p>
            <a:pPr marL="457200" indent="-457200">
              <a:spcBef>
                <a:spcPts val="1200"/>
              </a:spcBef>
              <a:buFont typeface="+mj-lt"/>
              <a:buAutoNum type="arabicPeriod"/>
            </a:pPr>
            <a:r>
              <a:rPr lang="nl-BE" sz="2400" dirty="0" err="1" smtClean="0">
                <a:solidFill>
                  <a:schemeClr val="bg1">
                    <a:lumMod val="65000"/>
                  </a:schemeClr>
                </a:solidFill>
              </a:rPr>
              <a:t>Easily</a:t>
            </a:r>
            <a:r>
              <a:rPr lang="nl-BE" sz="2400" dirty="0" smtClean="0">
                <a:solidFill>
                  <a:schemeClr val="bg1">
                    <a:lumMod val="65000"/>
                  </a:schemeClr>
                </a:solidFill>
              </a:rPr>
              <a:t> </a:t>
            </a:r>
            <a:r>
              <a:rPr lang="nl-BE" sz="2400" dirty="0" err="1" smtClean="0">
                <a:solidFill>
                  <a:schemeClr val="bg1">
                    <a:lumMod val="65000"/>
                  </a:schemeClr>
                </a:solidFill>
              </a:rPr>
              <a:t>try</a:t>
            </a:r>
            <a:r>
              <a:rPr lang="nl-BE" sz="2400" dirty="0" smtClean="0">
                <a:solidFill>
                  <a:schemeClr val="bg1">
                    <a:lumMod val="65000"/>
                  </a:schemeClr>
                </a:solidFill>
              </a:rPr>
              <a:t> out new </a:t>
            </a:r>
            <a:r>
              <a:rPr lang="nl-BE" sz="2400" dirty="0" err="1" smtClean="0">
                <a:solidFill>
                  <a:schemeClr val="bg1">
                    <a:lumMod val="65000"/>
                  </a:schemeClr>
                </a:solidFill>
              </a:rPr>
              <a:t>versions</a:t>
            </a:r>
            <a:r>
              <a:rPr lang="nl-BE" sz="2400" dirty="0" smtClean="0">
                <a:solidFill>
                  <a:schemeClr val="bg1">
                    <a:lumMod val="65000"/>
                  </a:schemeClr>
                </a:solidFill>
              </a:rPr>
              <a:t>, tools,…</a:t>
            </a:r>
          </a:p>
          <a:p>
            <a:pPr marL="457200" indent="-457200">
              <a:spcBef>
                <a:spcPts val="1200"/>
              </a:spcBef>
              <a:buFont typeface="+mj-lt"/>
              <a:buAutoNum type="arabicPeriod"/>
            </a:pPr>
            <a:r>
              <a:rPr lang="nl-BE" sz="2400" dirty="0" smtClean="0">
                <a:solidFill>
                  <a:schemeClr val="bg1">
                    <a:lumMod val="65000"/>
                  </a:schemeClr>
                </a:solidFill>
              </a:rPr>
              <a:t>Consistent development environmen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40060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41339" y="586337"/>
            <a:ext cx="3337560" cy="759578"/>
          </a:xfrm>
        </p:spPr>
        <p:txBody>
          <a:bodyPr/>
          <a:lstStyle/>
          <a:p>
            <a:r>
              <a:rPr lang="nl-BE" dirty="0" err="1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And</a:t>
            </a:r>
            <a:r>
              <a:rPr lang="nl-BE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nl-BE" dirty="0" err="1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remember</a:t>
            </a:r>
            <a:endParaRPr lang="en-US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488252" y="713337"/>
            <a:ext cx="7777970" cy="23698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spcBef>
                <a:spcPts val="1200"/>
              </a:spcBef>
              <a:buFont typeface="+mj-lt"/>
              <a:buAutoNum type="arabicPeriod"/>
            </a:pPr>
            <a:r>
              <a:rPr lang="nl-BE" sz="2400" dirty="0" smtClean="0">
                <a:solidFill>
                  <a:schemeClr val="bg1">
                    <a:lumMod val="65000"/>
                  </a:schemeClr>
                </a:solidFill>
              </a:rPr>
              <a:t>No more “It </a:t>
            </a:r>
            <a:r>
              <a:rPr lang="nl-BE" sz="2400" dirty="0" err="1" smtClean="0">
                <a:solidFill>
                  <a:schemeClr val="bg1">
                    <a:lumMod val="65000"/>
                  </a:schemeClr>
                </a:solidFill>
              </a:rPr>
              <a:t>works</a:t>
            </a:r>
            <a:r>
              <a:rPr lang="nl-BE" sz="2400" dirty="0" smtClean="0">
                <a:solidFill>
                  <a:schemeClr val="bg1">
                    <a:lumMod val="65000"/>
                  </a:schemeClr>
                </a:solidFill>
              </a:rPr>
              <a:t> on </a:t>
            </a:r>
            <a:r>
              <a:rPr lang="nl-BE" sz="2400" dirty="0" err="1" smtClean="0">
                <a:solidFill>
                  <a:schemeClr val="bg1">
                    <a:lumMod val="65000"/>
                  </a:schemeClr>
                </a:solidFill>
              </a:rPr>
              <a:t>my</a:t>
            </a:r>
            <a:r>
              <a:rPr lang="nl-BE" sz="2400" dirty="0" smtClean="0">
                <a:solidFill>
                  <a:schemeClr val="bg1">
                    <a:lumMod val="65000"/>
                  </a:schemeClr>
                </a:solidFill>
              </a:rPr>
              <a:t> machine”</a:t>
            </a:r>
          </a:p>
          <a:p>
            <a:pPr marL="457200" indent="-457200">
              <a:spcBef>
                <a:spcPts val="1200"/>
              </a:spcBef>
              <a:buFont typeface="+mj-lt"/>
              <a:buAutoNum type="arabicPeriod"/>
            </a:pPr>
            <a:r>
              <a:rPr lang="nl-BE" sz="2400" dirty="0" err="1" smtClean="0">
                <a:solidFill>
                  <a:schemeClr val="bg1">
                    <a:lumMod val="65000"/>
                  </a:schemeClr>
                </a:solidFill>
              </a:rPr>
              <a:t>Easily</a:t>
            </a:r>
            <a:r>
              <a:rPr lang="nl-BE" sz="2400" dirty="0" smtClean="0">
                <a:solidFill>
                  <a:schemeClr val="bg1">
                    <a:lumMod val="65000"/>
                  </a:schemeClr>
                </a:solidFill>
              </a:rPr>
              <a:t> </a:t>
            </a:r>
            <a:r>
              <a:rPr lang="nl-BE" sz="2400" dirty="0" err="1" smtClean="0">
                <a:solidFill>
                  <a:schemeClr val="bg1">
                    <a:lumMod val="65000"/>
                  </a:schemeClr>
                </a:solidFill>
              </a:rPr>
              <a:t>try</a:t>
            </a:r>
            <a:r>
              <a:rPr lang="nl-BE" sz="2400" dirty="0" smtClean="0">
                <a:solidFill>
                  <a:schemeClr val="bg1">
                    <a:lumMod val="65000"/>
                  </a:schemeClr>
                </a:solidFill>
              </a:rPr>
              <a:t> out new </a:t>
            </a:r>
            <a:r>
              <a:rPr lang="nl-BE" sz="2400" dirty="0" err="1" smtClean="0">
                <a:solidFill>
                  <a:schemeClr val="bg1">
                    <a:lumMod val="65000"/>
                  </a:schemeClr>
                </a:solidFill>
              </a:rPr>
              <a:t>versions</a:t>
            </a:r>
            <a:r>
              <a:rPr lang="nl-BE" sz="2400" dirty="0" smtClean="0">
                <a:solidFill>
                  <a:schemeClr val="bg1">
                    <a:lumMod val="65000"/>
                  </a:schemeClr>
                </a:solidFill>
              </a:rPr>
              <a:t>, tools,…</a:t>
            </a:r>
          </a:p>
          <a:p>
            <a:pPr marL="457200" indent="-457200">
              <a:spcBef>
                <a:spcPts val="1200"/>
              </a:spcBef>
              <a:buFont typeface="+mj-lt"/>
              <a:buAutoNum type="arabicPeriod"/>
            </a:pPr>
            <a:r>
              <a:rPr lang="nl-BE" sz="2400" dirty="0" smtClean="0">
                <a:solidFill>
                  <a:schemeClr val="bg1">
                    <a:lumMod val="65000"/>
                  </a:schemeClr>
                </a:solidFill>
              </a:rPr>
              <a:t>Consistent development environment</a:t>
            </a:r>
          </a:p>
          <a:p>
            <a:pPr marL="457200" indent="-457200">
              <a:spcBef>
                <a:spcPts val="1200"/>
              </a:spcBef>
              <a:buFont typeface="+mj-lt"/>
              <a:buAutoNum type="arabicPeriod"/>
            </a:pPr>
            <a:r>
              <a:rPr lang="nl-BE" sz="2400" dirty="0" smtClean="0">
                <a:solidFill>
                  <a:schemeClr val="bg1">
                    <a:lumMod val="65000"/>
                  </a:schemeClr>
                </a:solidFill>
              </a:rPr>
              <a:t>Clean machin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07645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"/>
          <p:cNvSpPr txBox="1">
            <a:spLocks/>
          </p:cNvSpPr>
          <p:nvPr/>
        </p:nvSpPr>
        <p:spPr>
          <a:xfrm>
            <a:off x="540000" y="576000"/>
            <a:ext cx="3338981" cy="156752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555132" rtl="0" eaLnBrk="1" latinLnBrk="0" hangingPunct="1">
              <a:spcBef>
                <a:spcPts val="0"/>
              </a:spcBef>
              <a:spcAft>
                <a:spcPts val="1200"/>
              </a:spcAft>
              <a:buFont typeface="Arial"/>
              <a:buNone/>
              <a:defRPr sz="2200" b="0" kern="1200">
                <a:solidFill>
                  <a:schemeClr val="bg1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2pPr marL="0" indent="0" algn="l" defTabSz="555132" rtl="0" eaLnBrk="1" latinLnBrk="0" hangingPunct="1">
              <a:spcBef>
                <a:spcPts val="600"/>
              </a:spcBef>
              <a:buFont typeface="Arial"/>
              <a:buNone/>
              <a:defRPr sz="22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10265" indent="0" algn="l" defTabSz="555132" rtl="0" eaLnBrk="1" latinLnBrk="0" hangingPunct="1">
              <a:spcBef>
                <a:spcPct val="20000"/>
              </a:spcBef>
              <a:buFont typeface="Arial"/>
              <a:buNone/>
              <a:defRPr sz="29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65397" indent="0" algn="l" defTabSz="555132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220529" indent="0" algn="l" defTabSz="555132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3053227" indent="-277566" algn="l" defTabSz="555132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8360" indent="-277566" algn="l" defTabSz="555132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63492" indent="-277566" algn="l" defTabSz="555132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18624" indent="-277566" algn="l" defTabSz="555132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BE" sz="40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Q&amp;A</a:t>
            </a:r>
            <a:endParaRPr lang="en-US" sz="40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3" name="Picture 2" descr="https://www.winkle.eu/cms/wp-content/uploads/child-ask-question-raise-hand-school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8289" y="417958"/>
            <a:ext cx="5904609" cy="59046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41420" y="3342615"/>
            <a:ext cx="3337561" cy="526431"/>
          </a:xfrm>
        </p:spPr>
        <p:txBody>
          <a:bodyPr/>
          <a:lstStyle/>
          <a:p>
            <a:pPr>
              <a:spcAft>
                <a:spcPts val="0"/>
              </a:spcAft>
            </a:pPr>
            <a:r>
              <a:rPr lang="en-US" sz="24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Questions anyone?</a:t>
            </a:r>
          </a:p>
        </p:txBody>
      </p:sp>
    </p:spTree>
    <p:extLst>
      <p:ext uri="{BB962C8B-B14F-4D97-AF65-F5344CB8AC3E}">
        <p14:creationId xmlns:p14="http://schemas.microsoft.com/office/powerpoint/2010/main" val="34181666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nl-BE" dirty="0" err="1" smtClean="0">
                <a:solidFill>
                  <a:srgbClr val="3399FF"/>
                </a:solidFill>
              </a:rPr>
              <a:t>Thank</a:t>
            </a:r>
            <a:r>
              <a:rPr lang="nl-BE" dirty="0" smtClean="0">
                <a:solidFill>
                  <a:srgbClr val="3399FF"/>
                </a:solidFill>
              </a:rPr>
              <a:t> </a:t>
            </a:r>
            <a:r>
              <a:rPr lang="nl-BE" dirty="0" err="1" smtClean="0">
                <a:solidFill>
                  <a:srgbClr val="3399FF"/>
                </a:solidFill>
              </a:rPr>
              <a:t>you</a:t>
            </a:r>
            <a:r>
              <a:rPr lang="nl-BE" dirty="0" smtClean="0">
                <a:solidFill>
                  <a:srgbClr val="3399FF"/>
                </a:solidFill>
              </a:rPr>
              <a:t> </a:t>
            </a:r>
            <a:r>
              <a:rPr lang="nl-BE" dirty="0" err="1" smtClean="0">
                <a:solidFill>
                  <a:srgbClr val="3399FF"/>
                </a:solidFill>
              </a:rPr>
              <a:t>for</a:t>
            </a:r>
            <a:r>
              <a:rPr lang="nl-BE" dirty="0" smtClean="0">
                <a:solidFill>
                  <a:srgbClr val="3399FF"/>
                </a:solidFill>
              </a:rPr>
              <a:t> </a:t>
            </a:r>
            <a:r>
              <a:rPr lang="nl-BE" dirty="0" err="1" smtClean="0">
                <a:solidFill>
                  <a:srgbClr val="3399FF"/>
                </a:solidFill>
              </a:rPr>
              <a:t>your</a:t>
            </a:r>
            <a:r>
              <a:rPr lang="nl-BE" dirty="0" smtClean="0">
                <a:solidFill>
                  <a:srgbClr val="3399FF"/>
                </a:solidFill>
              </a:rPr>
              <a:t> time!</a:t>
            </a:r>
            <a:endParaRPr lang="en-US" dirty="0">
              <a:solidFill>
                <a:srgbClr val="3399FF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93" t="19325" r="293" b="20097"/>
          <a:stretch/>
        </p:blipFill>
        <p:spPr>
          <a:xfrm>
            <a:off x="1691283" y="1416676"/>
            <a:ext cx="9053430" cy="423714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37724573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540000" y="586800"/>
            <a:ext cx="3405173" cy="1567521"/>
          </a:xfrm>
        </p:spPr>
        <p:txBody>
          <a:bodyPr/>
          <a:lstStyle/>
          <a:p>
            <a:r>
              <a:rPr lang="nl-BE" sz="40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Agenda</a:t>
            </a:r>
            <a:endParaRPr lang="en-US" sz="40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4538760" y="1223306"/>
            <a:ext cx="7441596" cy="4547913"/>
            <a:chOff x="4538760" y="951278"/>
            <a:chExt cx="7441596" cy="4547913"/>
          </a:xfrm>
        </p:grpSpPr>
        <p:sp>
          <p:nvSpPr>
            <p:cNvPr id="4" name="TextBox 3"/>
            <p:cNvSpPr txBox="1"/>
            <p:nvPr/>
          </p:nvSpPr>
          <p:spPr>
            <a:xfrm>
              <a:off x="6051194" y="4677248"/>
              <a:ext cx="5929162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4000" dirty="0" smtClean="0">
                  <a:solidFill>
                    <a:schemeClr val="bg1">
                      <a:lumMod val="75000"/>
                    </a:schemeClr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Go explore!</a:t>
              </a:r>
            </a:p>
          </p:txBody>
        </p:sp>
        <p:pic>
          <p:nvPicPr>
            <p:cNvPr id="5" name="Picture 4" descr="http://www.mcmillandigitalart.com/inc/images/catalogue/412.jp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044356" y="951278"/>
              <a:ext cx="936000" cy="936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" name="TextBox 5"/>
            <p:cNvSpPr txBox="1"/>
            <p:nvPr/>
          </p:nvSpPr>
          <p:spPr>
            <a:xfrm>
              <a:off x="4538760" y="1065335"/>
              <a:ext cx="4610493" cy="70788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4000" dirty="0" smtClean="0">
                  <a:solidFill>
                    <a:schemeClr val="bg1">
                      <a:lumMod val="75000"/>
                    </a:schemeClr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hat’s </a:t>
              </a:r>
              <a:r>
                <a:rPr lang="en-US" sz="4000" dirty="0">
                  <a:solidFill>
                    <a:schemeClr val="bg1">
                      <a:lumMod val="75000"/>
                    </a:schemeClr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t all about</a:t>
              </a:r>
              <a:r>
                <a:rPr lang="en-US" sz="4000" dirty="0" smtClean="0">
                  <a:solidFill>
                    <a:schemeClr val="bg1">
                      <a:lumMod val="75000"/>
                    </a:schemeClr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?</a:t>
              </a:r>
              <a:endParaRPr lang="en-US" sz="4000" dirty="0">
                <a:solidFill>
                  <a:schemeClr val="bg1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</p:txBody>
        </p:sp>
        <p:pic>
          <p:nvPicPr>
            <p:cNvPr id="7" name="Picture 6" descr="http://brodinlab.github.io/Twin_data_visualization/assets/function.png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38760" y="2184469"/>
              <a:ext cx="936000" cy="936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Picture 13" descr="http://media.topito.com/wp-content/uploads/2014/01/jim-carrey-ordinateur.jpg"/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1186" t="6388" r="25358" b="5320"/>
            <a:stretch/>
          </p:blipFill>
          <p:spPr bwMode="auto">
            <a:xfrm>
              <a:off x="11079053" y="3354870"/>
              <a:ext cx="901303" cy="900000"/>
            </a:xfrm>
            <a:prstGeom prst="rect">
              <a:avLst/>
            </a:prstGeom>
            <a:noFill/>
            <a:effectLst>
              <a:softEdge rad="31750"/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" name="Rectangle 8"/>
            <p:cNvSpPr/>
            <p:nvPr/>
          </p:nvSpPr>
          <p:spPr>
            <a:xfrm>
              <a:off x="7493615" y="2298526"/>
              <a:ext cx="4486741" cy="70788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r"/>
              <a:r>
                <a:rPr lang="en-US" sz="4000" dirty="0" smtClean="0">
                  <a:solidFill>
                    <a:schemeClr val="bg1">
                      <a:lumMod val="75000"/>
                    </a:schemeClr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How does it work?</a:t>
              </a:r>
              <a:endParaRPr lang="en-US" sz="4000" dirty="0">
                <a:solidFill>
                  <a:schemeClr val="bg1">
                    <a:lumMod val="7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4805372" y="3450927"/>
              <a:ext cx="3973139" cy="70788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4000" dirty="0">
                  <a:solidFill>
                    <a:schemeClr val="bg1">
                      <a:lumMod val="75000"/>
                    </a:schemeClr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ocker in action</a:t>
              </a:r>
            </a:p>
          </p:txBody>
        </p:sp>
        <p:pic>
          <p:nvPicPr>
            <p:cNvPr id="11" name="Picture 23" descr="http://sf.co.ua/15/03/wallpaper-1d929d.jpg"/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8832" t="26471" r="19697" b="-187"/>
            <a:stretch/>
          </p:blipFill>
          <p:spPr bwMode="auto">
            <a:xfrm>
              <a:off x="4538760" y="4563191"/>
              <a:ext cx="934392" cy="936000"/>
            </a:xfrm>
            <a:prstGeom prst="rect">
              <a:avLst/>
            </a:prstGeom>
            <a:noFill/>
            <a:effectLst>
              <a:softEdge rad="31750"/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3561171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399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 err="1" smtClean="0"/>
              <a:t>What’s</a:t>
            </a:r>
            <a:r>
              <a:rPr lang="nl-BE" dirty="0" smtClean="0"/>
              <a:t> </a:t>
            </a:r>
            <a:r>
              <a:rPr lang="nl-BE" dirty="0" err="1" smtClean="0"/>
              <a:t>it</a:t>
            </a:r>
            <a:r>
              <a:rPr lang="nl-BE" dirty="0" smtClean="0"/>
              <a:t> </a:t>
            </a:r>
            <a:r>
              <a:rPr lang="nl-BE" dirty="0" err="1" smtClean="0"/>
              <a:t>all</a:t>
            </a:r>
            <a:r>
              <a:rPr lang="nl-BE" dirty="0" smtClean="0"/>
              <a:t> </a:t>
            </a:r>
            <a:r>
              <a:rPr lang="nl-BE" dirty="0" err="1" smtClean="0"/>
              <a:t>about</a:t>
            </a:r>
            <a:r>
              <a:rPr lang="nl-BE" dirty="0" smtClean="0"/>
              <a:t>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3191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8" name="Picture 107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6969" y="4742665"/>
            <a:ext cx="1392812" cy="8389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39999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12700" cap="flat">
                <a:solidFill>
                  <a:schemeClr val="tx1">
                    <a:alpha val="39999"/>
                  </a:schemeClr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540000" y="576000"/>
            <a:ext cx="3195506" cy="1567521"/>
          </a:xfrm>
        </p:spPr>
        <p:txBody>
          <a:bodyPr/>
          <a:lstStyle/>
          <a:p>
            <a:r>
              <a:rPr lang="nl-BE" sz="4000" dirty="0" err="1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Shipping</a:t>
            </a:r>
            <a:r>
              <a:rPr lang="nl-BE" sz="40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 code is hard</a:t>
            </a:r>
            <a:endParaRPr lang="en-US" sz="40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77" name="Line 1"/>
          <p:cNvSpPr>
            <a:spLocks noChangeShapeType="1"/>
          </p:cNvSpPr>
          <p:nvPr/>
        </p:nvSpPr>
        <p:spPr bwMode="auto">
          <a:xfrm>
            <a:off x="4319459" y="4187298"/>
            <a:ext cx="7880619" cy="40190"/>
          </a:xfrm>
          <a:prstGeom prst="line">
            <a:avLst/>
          </a:prstGeom>
          <a:noFill/>
          <a:ln w="63500" cap="flat">
            <a:solidFill>
              <a:schemeClr val="tx1"/>
            </a:solidFill>
            <a:prstDash val="sysDot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400"/>
          </a:p>
        </p:txBody>
      </p:sp>
      <p:sp>
        <p:nvSpPr>
          <p:cNvPr id="78" name="Rectangle 77"/>
          <p:cNvSpPr>
            <a:spLocks/>
          </p:cNvSpPr>
          <p:nvPr/>
        </p:nvSpPr>
        <p:spPr bwMode="auto">
          <a:xfrm>
            <a:off x="8670577" y="543280"/>
            <a:ext cx="142346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800" dirty="0">
                <a:ea typeface="Gill Sans" charset="0"/>
                <a:cs typeface="Gill Sans" charset="0"/>
              </a:rPr>
              <a:t>Static website</a:t>
            </a:r>
          </a:p>
        </p:txBody>
      </p:sp>
      <p:sp>
        <p:nvSpPr>
          <p:cNvPr id="79" name="Rectangle 78"/>
          <p:cNvSpPr>
            <a:spLocks/>
          </p:cNvSpPr>
          <p:nvPr/>
        </p:nvSpPr>
        <p:spPr bwMode="auto">
          <a:xfrm>
            <a:off x="5872579" y="2595584"/>
            <a:ext cx="1444946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800">
                <a:ea typeface="Gill Sans" charset="0"/>
                <a:cs typeface="Gill Sans" charset="0"/>
              </a:rPr>
              <a:t>Web frontend </a:t>
            </a:r>
          </a:p>
        </p:txBody>
      </p:sp>
      <p:sp>
        <p:nvSpPr>
          <p:cNvPr id="80" name="Rectangle 79"/>
          <p:cNvSpPr>
            <a:spLocks/>
          </p:cNvSpPr>
          <p:nvPr/>
        </p:nvSpPr>
        <p:spPr bwMode="auto">
          <a:xfrm>
            <a:off x="5441169" y="1723887"/>
            <a:ext cx="87203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800" dirty="0">
                <a:ea typeface="Gill Sans" charset="0"/>
                <a:cs typeface="Gill Sans" charset="0"/>
              </a:rPr>
              <a:t>User DB</a:t>
            </a:r>
          </a:p>
        </p:txBody>
      </p:sp>
      <p:sp>
        <p:nvSpPr>
          <p:cNvPr id="81" name="Rectangle 80"/>
          <p:cNvSpPr>
            <a:spLocks/>
          </p:cNvSpPr>
          <p:nvPr/>
        </p:nvSpPr>
        <p:spPr bwMode="auto">
          <a:xfrm>
            <a:off x="7598582" y="1828187"/>
            <a:ext cx="69249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800" dirty="0">
                <a:ea typeface="Gill Sans" charset="0"/>
                <a:cs typeface="Gill Sans" charset="0"/>
              </a:rPr>
              <a:t>Queue</a:t>
            </a:r>
          </a:p>
        </p:txBody>
      </p:sp>
      <p:sp>
        <p:nvSpPr>
          <p:cNvPr id="82" name="Rectangle 81"/>
          <p:cNvSpPr>
            <a:spLocks/>
          </p:cNvSpPr>
          <p:nvPr/>
        </p:nvSpPr>
        <p:spPr bwMode="auto">
          <a:xfrm>
            <a:off x="8976428" y="1831277"/>
            <a:ext cx="130805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800" dirty="0">
                <a:ea typeface="Gill Sans" charset="0"/>
                <a:cs typeface="Gill Sans" charset="0"/>
              </a:rPr>
              <a:t>Analytics DB</a:t>
            </a:r>
          </a:p>
        </p:txBody>
      </p:sp>
      <p:sp>
        <p:nvSpPr>
          <p:cNvPr id="83" name="Rectangle 82"/>
          <p:cNvSpPr>
            <a:spLocks/>
          </p:cNvSpPr>
          <p:nvPr/>
        </p:nvSpPr>
        <p:spPr bwMode="auto">
          <a:xfrm>
            <a:off x="5242791" y="772796"/>
            <a:ext cx="210314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800" dirty="0">
                <a:ea typeface="Gill Sans" charset="0"/>
                <a:cs typeface="Gill Sans" charset="0"/>
              </a:rPr>
              <a:t>Background workers</a:t>
            </a:r>
          </a:p>
        </p:txBody>
      </p:sp>
      <p:sp>
        <p:nvSpPr>
          <p:cNvPr id="84" name="Rectangle 83"/>
          <p:cNvSpPr>
            <a:spLocks/>
          </p:cNvSpPr>
          <p:nvPr/>
        </p:nvSpPr>
        <p:spPr bwMode="auto">
          <a:xfrm>
            <a:off x="8292615" y="2894509"/>
            <a:ext cx="132087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800" dirty="0">
                <a:ea typeface="Gill Sans" charset="0"/>
                <a:cs typeface="Gill Sans" charset="0"/>
              </a:rPr>
              <a:t>API endpoint</a:t>
            </a:r>
          </a:p>
        </p:txBody>
      </p:sp>
      <p:sp>
        <p:nvSpPr>
          <p:cNvPr id="85" name="Rectangle 84"/>
          <p:cNvSpPr>
            <a:spLocks/>
          </p:cNvSpPr>
          <p:nvPr/>
        </p:nvSpPr>
        <p:spPr bwMode="auto">
          <a:xfrm>
            <a:off x="7581158" y="744440"/>
            <a:ext cx="3321050" cy="54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50" dirty="0" err="1">
                <a:solidFill>
                  <a:srgbClr val="282828"/>
                </a:solidFill>
                <a:ea typeface="Gill Sans" charset="0"/>
                <a:cs typeface="Gill Sans" charset="0"/>
              </a:rPr>
              <a:t>nginx</a:t>
            </a:r>
            <a:r>
              <a:rPr lang="en-US" sz="1050" dirty="0">
                <a:solidFill>
                  <a:srgbClr val="282828"/>
                </a:solidFill>
                <a:ea typeface="Gill Sans" charset="0"/>
                <a:cs typeface="Gill Sans" charset="0"/>
              </a:rPr>
              <a:t> 1.5 + </a:t>
            </a:r>
            <a:r>
              <a:rPr lang="en-US" sz="1050" dirty="0" err="1">
                <a:solidFill>
                  <a:srgbClr val="282828"/>
                </a:solidFill>
                <a:ea typeface="Gill Sans" charset="0"/>
                <a:cs typeface="Gill Sans" charset="0"/>
              </a:rPr>
              <a:t>modsecurity</a:t>
            </a:r>
            <a:r>
              <a:rPr lang="en-US" sz="1050" dirty="0">
                <a:solidFill>
                  <a:srgbClr val="282828"/>
                </a:solidFill>
                <a:ea typeface="Gill Sans" charset="0"/>
                <a:cs typeface="Gill Sans" charset="0"/>
              </a:rPr>
              <a:t> + </a:t>
            </a:r>
            <a:r>
              <a:rPr lang="en-US" sz="1050" dirty="0" err="1">
                <a:solidFill>
                  <a:srgbClr val="282828"/>
                </a:solidFill>
                <a:ea typeface="Gill Sans" charset="0"/>
                <a:cs typeface="Gill Sans" charset="0"/>
              </a:rPr>
              <a:t>openssl</a:t>
            </a:r>
            <a:r>
              <a:rPr lang="en-US" sz="1050" dirty="0">
                <a:solidFill>
                  <a:srgbClr val="282828"/>
                </a:solidFill>
                <a:ea typeface="Gill Sans" charset="0"/>
                <a:cs typeface="Gill Sans" charset="0"/>
              </a:rPr>
              <a:t> + bootstrap 2</a:t>
            </a:r>
          </a:p>
        </p:txBody>
      </p:sp>
      <p:sp>
        <p:nvSpPr>
          <p:cNvPr id="86" name="Rectangle 85"/>
          <p:cNvSpPr>
            <a:spLocks/>
          </p:cNvSpPr>
          <p:nvPr/>
        </p:nvSpPr>
        <p:spPr bwMode="auto">
          <a:xfrm>
            <a:off x="5130665" y="2115609"/>
            <a:ext cx="1364156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50" dirty="0" err="1">
                <a:solidFill>
                  <a:srgbClr val="282828"/>
                </a:solidFill>
                <a:ea typeface="Gill Sans" charset="0"/>
                <a:cs typeface="Gill Sans" charset="0"/>
              </a:rPr>
              <a:t>postgresql</a:t>
            </a:r>
            <a:r>
              <a:rPr lang="en-US" sz="1050" dirty="0">
                <a:solidFill>
                  <a:srgbClr val="282828"/>
                </a:solidFill>
                <a:ea typeface="Gill Sans" charset="0"/>
                <a:cs typeface="Gill Sans" charset="0"/>
              </a:rPr>
              <a:t> + pgv8 + v8</a:t>
            </a:r>
          </a:p>
        </p:txBody>
      </p:sp>
      <p:sp>
        <p:nvSpPr>
          <p:cNvPr id="87" name="Rectangle 86"/>
          <p:cNvSpPr>
            <a:spLocks/>
          </p:cNvSpPr>
          <p:nvPr/>
        </p:nvSpPr>
        <p:spPr bwMode="auto">
          <a:xfrm>
            <a:off x="8838381" y="2173677"/>
            <a:ext cx="2003754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50" dirty="0" err="1">
                <a:solidFill>
                  <a:srgbClr val="282828"/>
                </a:solidFill>
                <a:ea typeface="Gill Sans" charset="0"/>
                <a:cs typeface="Gill Sans" charset="0"/>
              </a:rPr>
              <a:t>hadoop</a:t>
            </a:r>
            <a:r>
              <a:rPr lang="en-US" sz="1050" dirty="0">
                <a:solidFill>
                  <a:srgbClr val="282828"/>
                </a:solidFill>
                <a:ea typeface="Gill Sans" charset="0"/>
                <a:cs typeface="Gill Sans" charset="0"/>
              </a:rPr>
              <a:t> + hive + thrift + </a:t>
            </a:r>
            <a:r>
              <a:rPr lang="en-US" sz="1050" dirty="0" err="1">
                <a:solidFill>
                  <a:srgbClr val="282828"/>
                </a:solidFill>
                <a:ea typeface="Gill Sans" charset="0"/>
                <a:cs typeface="Gill Sans" charset="0"/>
              </a:rPr>
              <a:t>OpenJDK</a:t>
            </a:r>
            <a:endParaRPr lang="en-US" sz="1050" dirty="0">
              <a:solidFill>
                <a:srgbClr val="282828"/>
              </a:solidFill>
              <a:ea typeface="Gill Sans" charset="0"/>
              <a:cs typeface="Gill Sans" charset="0"/>
            </a:endParaRPr>
          </a:p>
        </p:txBody>
      </p:sp>
      <p:sp>
        <p:nvSpPr>
          <p:cNvPr id="88" name="Rectangle 87"/>
          <p:cNvSpPr>
            <a:spLocks/>
          </p:cNvSpPr>
          <p:nvPr/>
        </p:nvSpPr>
        <p:spPr bwMode="auto">
          <a:xfrm>
            <a:off x="4933734" y="2941317"/>
            <a:ext cx="3321050" cy="298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50" dirty="0">
                <a:solidFill>
                  <a:srgbClr val="282828"/>
                </a:solidFill>
                <a:ea typeface="Gill Sans" charset="0"/>
                <a:cs typeface="Gill Sans" charset="0"/>
              </a:rPr>
              <a:t>Ruby + Rails + sass + Unicorn</a:t>
            </a:r>
          </a:p>
        </p:txBody>
      </p:sp>
      <p:sp>
        <p:nvSpPr>
          <p:cNvPr id="89" name="Rectangle 88"/>
          <p:cNvSpPr>
            <a:spLocks/>
          </p:cNvSpPr>
          <p:nvPr/>
        </p:nvSpPr>
        <p:spPr bwMode="auto">
          <a:xfrm>
            <a:off x="6284306" y="2178113"/>
            <a:ext cx="3321050" cy="298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50" dirty="0" err="1">
                <a:solidFill>
                  <a:srgbClr val="282828"/>
                </a:solidFill>
                <a:ea typeface="Gill Sans" charset="0"/>
                <a:cs typeface="Gill Sans" charset="0"/>
              </a:rPr>
              <a:t>Redis</a:t>
            </a:r>
            <a:r>
              <a:rPr lang="en-US" sz="1050" dirty="0">
                <a:solidFill>
                  <a:srgbClr val="282828"/>
                </a:solidFill>
                <a:ea typeface="Gill Sans" charset="0"/>
                <a:cs typeface="Gill Sans" charset="0"/>
              </a:rPr>
              <a:t> + </a:t>
            </a:r>
            <a:r>
              <a:rPr lang="en-US" sz="1050" dirty="0" err="1">
                <a:solidFill>
                  <a:srgbClr val="282828"/>
                </a:solidFill>
                <a:ea typeface="Gill Sans" charset="0"/>
                <a:cs typeface="Gill Sans" charset="0"/>
              </a:rPr>
              <a:t>redis</a:t>
            </a:r>
            <a:r>
              <a:rPr lang="en-US" sz="1050" dirty="0">
                <a:solidFill>
                  <a:srgbClr val="282828"/>
                </a:solidFill>
                <a:ea typeface="Gill Sans" charset="0"/>
                <a:cs typeface="Gill Sans" charset="0"/>
              </a:rPr>
              <a:t>-sentinel</a:t>
            </a:r>
          </a:p>
        </p:txBody>
      </p:sp>
      <p:sp>
        <p:nvSpPr>
          <p:cNvPr id="90" name="Rectangle 89"/>
          <p:cNvSpPr>
            <a:spLocks/>
          </p:cNvSpPr>
          <p:nvPr/>
        </p:nvSpPr>
        <p:spPr bwMode="auto">
          <a:xfrm>
            <a:off x="4798767" y="1059691"/>
            <a:ext cx="2697641" cy="54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50" dirty="0">
                <a:solidFill>
                  <a:srgbClr val="282828"/>
                </a:solidFill>
                <a:ea typeface="Gill Sans" charset="0"/>
                <a:cs typeface="Gill Sans" charset="0"/>
              </a:rPr>
              <a:t>Python 3.0 + celery + </a:t>
            </a:r>
            <a:r>
              <a:rPr lang="en-US" sz="1050" dirty="0" err="1">
                <a:solidFill>
                  <a:srgbClr val="282828"/>
                </a:solidFill>
                <a:ea typeface="Gill Sans" charset="0"/>
                <a:cs typeface="Gill Sans" charset="0"/>
              </a:rPr>
              <a:t>pyredis</a:t>
            </a:r>
            <a:r>
              <a:rPr lang="en-US" sz="1050" dirty="0">
                <a:solidFill>
                  <a:srgbClr val="282828"/>
                </a:solidFill>
                <a:ea typeface="Gill Sans" charset="0"/>
                <a:cs typeface="Gill Sans" charset="0"/>
              </a:rPr>
              <a:t> + </a:t>
            </a:r>
            <a:r>
              <a:rPr lang="en-US" sz="1050" dirty="0" err="1">
                <a:solidFill>
                  <a:srgbClr val="282828"/>
                </a:solidFill>
                <a:ea typeface="Gill Sans" charset="0"/>
                <a:cs typeface="Gill Sans" charset="0"/>
              </a:rPr>
              <a:t>libcurl</a:t>
            </a:r>
            <a:r>
              <a:rPr lang="en-US" sz="1050" dirty="0">
                <a:solidFill>
                  <a:srgbClr val="282828"/>
                </a:solidFill>
                <a:ea typeface="Gill Sans" charset="0"/>
                <a:cs typeface="Gill Sans" charset="0"/>
              </a:rPr>
              <a:t> + </a:t>
            </a:r>
            <a:r>
              <a:rPr lang="en-US" sz="1050" dirty="0" err="1">
                <a:solidFill>
                  <a:srgbClr val="282828"/>
                </a:solidFill>
                <a:ea typeface="Gill Sans" charset="0"/>
                <a:cs typeface="Gill Sans" charset="0"/>
              </a:rPr>
              <a:t>ffmpeg</a:t>
            </a:r>
            <a:r>
              <a:rPr lang="en-US" sz="1050" dirty="0">
                <a:solidFill>
                  <a:srgbClr val="282828"/>
                </a:solidFill>
                <a:ea typeface="Gill Sans" charset="0"/>
                <a:cs typeface="Gill Sans" charset="0"/>
              </a:rPr>
              <a:t> + </a:t>
            </a:r>
            <a:r>
              <a:rPr lang="en-US" sz="1050" dirty="0" err="1">
                <a:solidFill>
                  <a:srgbClr val="282828"/>
                </a:solidFill>
                <a:ea typeface="Gill Sans" charset="0"/>
                <a:cs typeface="Gill Sans" charset="0"/>
              </a:rPr>
              <a:t>libopencv</a:t>
            </a:r>
            <a:r>
              <a:rPr lang="en-US" sz="1050" dirty="0">
                <a:solidFill>
                  <a:srgbClr val="282828"/>
                </a:solidFill>
                <a:ea typeface="Gill Sans" charset="0"/>
                <a:cs typeface="Gill Sans" charset="0"/>
              </a:rPr>
              <a:t> + </a:t>
            </a:r>
            <a:r>
              <a:rPr lang="en-US" sz="1050" dirty="0" err="1">
                <a:solidFill>
                  <a:srgbClr val="282828"/>
                </a:solidFill>
                <a:ea typeface="Gill Sans" charset="0"/>
                <a:cs typeface="Gill Sans" charset="0"/>
              </a:rPr>
              <a:t>nodejs</a:t>
            </a:r>
            <a:r>
              <a:rPr lang="en-US" sz="1050" dirty="0">
                <a:solidFill>
                  <a:srgbClr val="282828"/>
                </a:solidFill>
                <a:ea typeface="Gill Sans" charset="0"/>
                <a:cs typeface="Gill Sans" charset="0"/>
              </a:rPr>
              <a:t> + </a:t>
            </a:r>
            <a:r>
              <a:rPr lang="en-US" sz="1050" dirty="0" err="1">
                <a:solidFill>
                  <a:srgbClr val="282828"/>
                </a:solidFill>
                <a:ea typeface="Gill Sans" charset="0"/>
                <a:cs typeface="Gill Sans" charset="0"/>
              </a:rPr>
              <a:t>phantomjs</a:t>
            </a:r>
            <a:endParaRPr lang="en-US" sz="1050" dirty="0">
              <a:solidFill>
                <a:srgbClr val="282828"/>
              </a:solidFill>
              <a:ea typeface="Gill Sans" charset="0"/>
              <a:cs typeface="Gill Sans" charset="0"/>
            </a:endParaRPr>
          </a:p>
        </p:txBody>
      </p:sp>
      <p:sp>
        <p:nvSpPr>
          <p:cNvPr id="91" name="Rectangle 90"/>
          <p:cNvSpPr>
            <a:spLocks/>
          </p:cNvSpPr>
          <p:nvPr/>
        </p:nvSpPr>
        <p:spPr bwMode="auto">
          <a:xfrm>
            <a:off x="7054439" y="3121181"/>
            <a:ext cx="4260850" cy="54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50" dirty="0">
                <a:solidFill>
                  <a:srgbClr val="282828"/>
                </a:solidFill>
                <a:ea typeface="Gill Sans" charset="0"/>
                <a:cs typeface="Gill Sans" charset="0"/>
              </a:rPr>
              <a:t>Python 2.7 + Flask + </a:t>
            </a:r>
            <a:r>
              <a:rPr lang="en-US" sz="1050" dirty="0" err="1">
                <a:solidFill>
                  <a:srgbClr val="282828"/>
                </a:solidFill>
                <a:ea typeface="Gill Sans" charset="0"/>
                <a:cs typeface="Gill Sans" charset="0"/>
              </a:rPr>
              <a:t>pyredis</a:t>
            </a:r>
            <a:r>
              <a:rPr lang="en-US" sz="1050" dirty="0">
                <a:solidFill>
                  <a:srgbClr val="282828"/>
                </a:solidFill>
                <a:ea typeface="Gill Sans" charset="0"/>
                <a:cs typeface="Gill Sans" charset="0"/>
              </a:rPr>
              <a:t> + celery + </a:t>
            </a:r>
            <a:r>
              <a:rPr lang="en-US" sz="1050" dirty="0" err="1">
                <a:solidFill>
                  <a:srgbClr val="282828"/>
                </a:solidFill>
                <a:ea typeface="Gill Sans" charset="0"/>
                <a:cs typeface="Gill Sans" charset="0"/>
              </a:rPr>
              <a:t>psycopg</a:t>
            </a:r>
            <a:r>
              <a:rPr lang="en-US" sz="1050" dirty="0">
                <a:solidFill>
                  <a:srgbClr val="282828"/>
                </a:solidFill>
                <a:ea typeface="Gill Sans" charset="0"/>
                <a:cs typeface="Gill Sans" charset="0"/>
              </a:rPr>
              <a:t> + </a:t>
            </a:r>
            <a:r>
              <a:rPr lang="en-US" sz="1050" dirty="0" err="1">
                <a:solidFill>
                  <a:srgbClr val="282828"/>
                </a:solidFill>
                <a:ea typeface="Gill Sans" charset="0"/>
                <a:cs typeface="Gill Sans" charset="0"/>
              </a:rPr>
              <a:t>postgresql</a:t>
            </a:r>
            <a:r>
              <a:rPr lang="en-US" sz="1050" dirty="0">
                <a:solidFill>
                  <a:srgbClr val="282828"/>
                </a:solidFill>
                <a:ea typeface="Gill Sans" charset="0"/>
                <a:cs typeface="Gill Sans" charset="0"/>
              </a:rPr>
              <a:t>-client</a:t>
            </a:r>
          </a:p>
        </p:txBody>
      </p:sp>
      <p:sp>
        <p:nvSpPr>
          <p:cNvPr id="92" name="Rectangle 91"/>
          <p:cNvSpPr>
            <a:spLocks/>
          </p:cNvSpPr>
          <p:nvPr/>
        </p:nvSpPr>
        <p:spPr bwMode="auto">
          <a:xfrm>
            <a:off x="5361314" y="5248633"/>
            <a:ext cx="1572546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dirty="0">
                <a:ea typeface="Gill Sans" charset="0"/>
                <a:cs typeface="Gill Sans" charset="0"/>
              </a:rPr>
              <a:t>Development VM</a:t>
            </a:r>
          </a:p>
        </p:txBody>
      </p:sp>
      <p:sp>
        <p:nvSpPr>
          <p:cNvPr id="93" name="Rectangle 92"/>
          <p:cNvSpPr>
            <a:spLocks/>
          </p:cNvSpPr>
          <p:nvPr/>
        </p:nvSpPr>
        <p:spPr bwMode="auto">
          <a:xfrm>
            <a:off x="8275511" y="5477576"/>
            <a:ext cx="913583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dirty="0">
                <a:ea typeface="Gill Sans" charset="0"/>
                <a:cs typeface="Gill Sans" charset="0"/>
              </a:rPr>
              <a:t>QA server</a:t>
            </a:r>
          </a:p>
        </p:txBody>
      </p:sp>
      <p:pic>
        <p:nvPicPr>
          <p:cNvPr id="102" name="Picture 10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5963" y="4279759"/>
            <a:ext cx="1077473" cy="692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39999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12700" cap="flat">
                <a:solidFill>
                  <a:schemeClr val="tx1">
                    <a:alpha val="39999"/>
                  </a:schemeClr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4" name="Rectangle 93"/>
          <p:cNvSpPr>
            <a:spLocks/>
          </p:cNvSpPr>
          <p:nvPr/>
        </p:nvSpPr>
        <p:spPr bwMode="auto">
          <a:xfrm>
            <a:off x="5771766" y="4791912"/>
            <a:ext cx="114775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dirty="0">
                <a:ea typeface="Gill Sans" charset="0"/>
                <a:cs typeface="Gill Sans" charset="0"/>
              </a:rPr>
              <a:t>Public Cloud</a:t>
            </a:r>
          </a:p>
        </p:txBody>
      </p:sp>
      <p:sp>
        <p:nvSpPr>
          <p:cNvPr id="95" name="Rectangle 94"/>
          <p:cNvSpPr>
            <a:spLocks/>
          </p:cNvSpPr>
          <p:nvPr/>
        </p:nvSpPr>
        <p:spPr bwMode="auto">
          <a:xfrm>
            <a:off x="6101428" y="5687447"/>
            <a:ext cx="1596591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dirty="0">
                <a:ea typeface="Gill Sans" charset="0"/>
                <a:cs typeface="Gill Sans" charset="0"/>
              </a:rPr>
              <a:t>Disaster recovery</a:t>
            </a:r>
          </a:p>
        </p:txBody>
      </p:sp>
      <p:sp>
        <p:nvSpPr>
          <p:cNvPr id="96" name="Rectangle 95"/>
          <p:cNvSpPr>
            <a:spLocks/>
          </p:cNvSpPr>
          <p:nvPr/>
        </p:nvSpPr>
        <p:spPr bwMode="auto">
          <a:xfrm>
            <a:off x="8300020" y="6017679"/>
            <a:ext cx="1781642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dirty="0">
                <a:ea typeface="Gill Sans" charset="0"/>
                <a:cs typeface="Gill Sans" charset="0"/>
              </a:rPr>
              <a:t>Contributor’s laptop</a:t>
            </a:r>
          </a:p>
        </p:txBody>
      </p:sp>
      <p:sp>
        <p:nvSpPr>
          <p:cNvPr id="97" name="Rectangle 96"/>
          <p:cNvSpPr>
            <a:spLocks/>
          </p:cNvSpPr>
          <p:nvPr/>
        </p:nvSpPr>
        <p:spPr bwMode="auto">
          <a:xfrm>
            <a:off x="7558585" y="6536018"/>
            <a:ext cx="1744067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dirty="0">
                <a:ea typeface="Gill Sans" charset="0"/>
                <a:cs typeface="Gill Sans" charset="0"/>
              </a:rPr>
              <a:t>Production Servers</a:t>
            </a:r>
          </a:p>
        </p:txBody>
      </p:sp>
      <p:sp>
        <p:nvSpPr>
          <p:cNvPr id="101" name="Rectangle 100"/>
          <p:cNvSpPr>
            <a:spLocks/>
          </p:cNvSpPr>
          <p:nvPr/>
        </p:nvSpPr>
        <p:spPr bwMode="auto">
          <a:xfrm>
            <a:off x="8618314" y="4509012"/>
            <a:ext cx="168636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dirty="0" smtClean="0">
                <a:ea typeface="Gill Sans" charset="0"/>
                <a:cs typeface="Gill Sans" charset="0"/>
              </a:rPr>
              <a:t>Production Cluster</a:t>
            </a:r>
            <a:endParaRPr lang="en-US" sz="1600" dirty="0">
              <a:ea typeface="Gill Sans" charset="0"/>
              <a:cs typeface="Gill Sans" charset="0"/>
            </a:endParaRPr>
          </a:p>
        </p:txBody>
      </p:sp>
      <p:sp>
        <p:nvSpPr>
          <p:cNvPr id="103" name="Rectangle 102"/>
          <p:cNvSpPr>
            <a:spLocks/>
          </p:cNvSpPr>
          <p:nvPr/>
        </p:nvSpPr>
        <p:spPr bwMode="auto">
          <a:xfrm>
            <a:off x="6406325" y="6198795"/>
            <a:ext cx="2053447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dirty="0" smtClean="0">
                <a:ea typeface="Gill Sans" charset="0"/>
                <a:cs typeface="Gill Sans" charset="0"/>
              </a:rPr>
              <a:t>Customer Data Center</a:t>
            </a:r>
            <a:endParaRPr lang="en-US" sz="1600" dirty="0">
              <a:ea typeface="Gill Sans" charset="0"/>
              <a:cs typeface="Gill Sans" charset="0"/>
            </a:endParaRPr>
          </a:p>
        </p:txBody>
      </p:sp>
      <p:pic>
        <p:nvPicPr>
          <p:cNvPr id="104" name="Picture 103"/>
          <p:cNvPicPr>
            <a:picLocks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1314" y="5542610"/>
            <a:ext cx="677831" cy="4093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5" name="Picture 104"/>
          <p:cNvPicPr>
            <a:picLocks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74034" y="6003504"/>
            <a:ext cx="409763" cy="325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6" name="Picture 105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0588" y="6166030"/>
            <a:ext cx="832434" cy="639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39999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12700" cap="flat">
                <a:solidFill>
                  <a:schemeClr val="tx1">
                    <a:alpha val="39999"/>
                  </a:schemeClr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7" name="Picture 106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9409231" y="4895131"/>
            <a:ext cx="542373" cy="745566"/>
          </a:xfrm>
          <a:prstGeom prst="rect">
            <a:avLst/>
          </a:prstGeom>
        </p:spPr>
      </p:pic>
      <p:sp>
        <p:nvSpPr>
          <p:cNvPr id="109" name="Freeform 108"/>
          <p:cNvSpPr/>
          <p:nvPr/>
        </p:nvSpPr>
        <p:spPr>
          <a:xfrm>
            <a:off x="7857702" y="2790340"/>
            <a:ext cx="138403" cy="159083"/>
          </a:xfrm>
          <a:custGeom>
            <a:avLst/>
            <a:gdLst>
              <a:gd name="connsiteX0" fmla="*/ 0 w 726849"/>
              <a:gd name="connsiteY0" fmla="*/ 316180 h 632359"/>
              <a:gd name="connsiteX1" fmla="*/ 158090 w 726849"/>
              <a:gd name="connsiteY1" fmla="*/ 0 h 632359"/>
              <a:gd name="connsiteX2" fmla="*/ 568759 w 726849"/>
              <a:gd name="connsiteY2" fmla="*/ 0 h 632359"/>
              <a:gd name="connsiteX3" fmla="*/ 726849 w 726849"/>
              <a:gd name="connsiteY3" fmla="*/ 316180 h 632359"/>
              <a:gd name="connsiteX4" fmla="*/ 568759 w 726849"/>
              <a:gd name="connsiteY4" fmla="*/ 632359 h 632359"/>
              <a:gd name="connsiteX5" fmla="*/ 158090 w 726849"/>
              <a:gd name="connsiteY5" fmla="*/ 632359 h 632359"/>
              <a:gd name="connsiteX6" fmla="*/ 0 w 726849"/>
              <a:gd name="connsiteY6" fmla="*/ 316180 h 632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26849" h="632359">
                <a:moveTo>
                  <a:pt x="363424" y="0"/>
                </a:moveTo>
                <a:lnTo>
                  <a:pt x="726849" y="137538"/>
                </a:lnTo>
                <a:lnTo>
                  <a:pt x="726849" y="494821"/>
                </a:lnTo>
                <a:lnTo>
                  <a:pt x="363424" y="632359"/>
                </a:lnTo>
                <a:lnTo>
                  <a:pt x="0" y="494821"/>
                </a:lnTo>
                <a:lnTo>
                  <a:pt x="0" y="137538"/>
                </a:lnTo>
                <a:lnTo>
                  <a:pt x="363424" y="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hueOff val="0"/>
              <a:satOff val="0"/>
              <a:lumOff val="0"/>
              <a:alphaOff val="0"/>
            </a:schemeClr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40453" tIns="155177" rIns="140454" bIns="155177" numCol="1" spcCol="127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1100" kern="1200" dirty="0"/>
          </a:p>
        </p:txBody>
      </p:sp>
      <p:sp>
        <p:nvSpPr>
          <p:cNvPr id="110" name="Freeform 109"/>
          <p:cNvSpPr/>
          <p:nvPr/>
        </p:nvSpPr>
        <p:spPr>
          <a:xfrm>
            <a:off x="6980492" y="1881333"/>
            <a:ext cx="177537" cy="95450"/>
          </a:xfrm>
          <a:custGeom>
            <a:avLst/>
            <a:gdLst>
              <a:gd name="connsiteX0" fmla="*/ 0 w 811164"/>
              <a:gd name="connsiteY0" fmla="*/ 0 h 436109"/>
              <a:gd name="connsiteX1" fmla="*/ 811164 w 811164"/>
              <a:gd name="connsiteY1" fmla="*/ 0 h 436109"/>
              <a:gd name="connsiteX2" fmla="*/ 811164 w 811164"/>
              <a:gd name="connsiteY2" fmla="*/ 436109 h 436109"/>
              <a:gd name="connsiteX3" fmla="*/ 0 w 811164"/>
              <a:gd name="connsiteY3" fmla="*/ 436109 h 436109"/>
              <a:gd name="connsiteX4" fmla="*/ 0 w 811164"/>
              <a:gd name="connsiteY4" fmla="*/ 0 h 4361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164" h="436109">
                <a:moveTo>
                  <a:pt x="0" y="0"/>
                </a:moveTo>
                <a:lnTo>
                  <a:pt x="811164" y="0"/>
                </a:lnTo>
                <a:lnTo>
                  <a:pt x="811164" y="436109"/>
                </a:lnTo>
                <a:lnTo>
                  <a:pt x="0" y="436109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6200" tIns="76200" rIns="76200" bIns="76200" numCol="1" spcCol="127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2000" kern="1200" dirty="0"/>
          </a:p>
        </p:txBody>
      </p:sp>
      <p:sp>
        <p:nvSpPr>
          <p:cNvPr id="111" name="Freeform 110"/>
          <p:cNvSpPr/>
          <p:nvPr/>
        </p:nvSpPr>
        <p:spPr>
          <a:xfrm>
            <a:off x="7708227" y="2790340"/>
            <a:ext cx="138402" cy="159083"/>
          </a:xfrm>
          <a:custGeom>
            <a:avLst/>
            <a:gdLst>
              <a:gd name="connsiteX0" fmla="*/ 0 w 726849"/>
              <a:gd name="connsiteY0" fmla="*/ 316180 h 632359"/>
              <a:gd name="connsiteX1" fmla="*/ 158090 w 726849"/>
              <a:gd name="connsiteY1" fmla="*/ 0 h 632359"/>
              <a:gd name="connsiteX2" fmla="*/ 568759 w 726849"/>
              <a:gd name="connsiteY2" fmla="*/ 0 h 632359"/>
              <a:gd name="connsiteX3" fmla="*/ 726849 w 726849"/>
              <a:gd name="connsiteY3" fmla="*/ 316180 h 632359"/>
              <a:gd name="connsiteX4" fmla="*/ 568759 w 726849"/>
              <a:gd name="connsiteY4" fmla="*/ 632359 h 632359"/>
              <a:gd name="connsiteX5" fmla="*/ 158090 w 726849"/>
              <a:gd name="connsiteY5" fmla="*/ 632359 h 632359"/>
              <a:gd name="connsiteX6" fmla="*/ 0 w 726849"/>
              <a:gd name="connsiteY6" fmla="*/ 316180 h 632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26849" h="632359">
                <a:moveTo>
                  <a:pt x="363424" y="0"/>
                </a:moveTo>
                <a:lnTo>
                  <a:pt x="726849" y="137538"/>
                </a:lnTo>
                <a:lnTo>
                  <a:pt x="726849" y="494821"/>
                </a:lnTo>
                <a:lnTo>
                  <a:pt x="363424" y="632359"/>
                </a:lnTo>
                <a:lnTo>
                  <a:pt x="0" y="494821"/>
                </a:lnTo>
                <a:lnTo>
                  <a:pt x="0" y="137538"/>
                </a:lnTo>
                <a:lnTo>
                  <a:pt x="363424" y="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8543" tIns="113267" rIns="98543" bIns="113267" numCol="1" spcCol="127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 defTabSz="1555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3500" kern="1200"/>
          </a:p>
        </p:txBody>
      </p:sp>
      <p:sp>
        <p:nvSpPr>
          <p:cNvPr id="112" name="Freeform 111"/>
          <p:cNvSpPr/>
          <p:nvPr/>
        </p:nvSpPr>
        <p:spPr>
          <a:xfrm>
            <a:off x="7782678" y="2925370"/>
            <a:ext cx="138402" cy="159083"/>
          </a:xfrm>
          <a:custGeom>
            <a:avLst/>
            <a:gdLst>
              <a:gd name="connsiteX0" fmla="*/ 0 w 726849"/>
              <a:gd name="connsiteY0" fmla="*/ 316180 h 632359"/>
              <a:gd name="connsiteX1" fmla="*/ 158090 w 726849"/>
              <a:gd name="connsiteY1" fmla="*/ 0 h 632359"/>
              <a:gd name="connsiteX2" fmla="*/ 568759 w 726849"/>
              <a:gd name="connsiteY2" fmla="*/ 0 h 632359"/>
              <a:gd name="connsiteX3" fmla="*/ 726849 w 726849"/>
              <a:gd name="connsiteY3" fmla="*/ 316180 h 632359"/>
              <a:gd name="connsiteX4" fmla="*/ 568759 w 726849"/>
              <a:gd name="connsiteY4" fmla="*/ 632359 h 632359"/>
              <a:gd name="connsiteX5" fmla="*/ 158090 w 726849"/>
              <a:gd name="connsiteY5" fmla="*/ 632359 h 632359"/>
              <a:gd name="connsiteX6" fmla="*/ 0 w 726849"/>
              <a:gd name="connsiteY6" fmla="*/ 316180 h 632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26849" h="632359">
                <a:moveTo>
                  <a:pt x="363424" y="0"/>
                </a:moveTo>
                <a:lnTo>
                  <a:pt x="726849" y="137538"/>
                </a:lnTo>
                <a:lnTo>
                  <a:pt x="726849" y="494821"/>
                </a:lnTo>
                <a:lnTo>
                  <a:pt x="363424" y="632359"/>
                </a:lnTo>
                <a:lnTo>
                  <a:pt x="0" y="494821"/>
                </a:lnTo>
                <a:lnTo>
                  <a:pt x="0" y="137538"/>
                </a:lnTo>
                <a:lnTo>
                  <a:pt x="363424" y="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hueOff val="0"/>
              <a:satOff val="0"/>
              <a:lumOff val="0"/>
              <a:alphaOff val="0"/>
            </a:schemeClr>
          </a:fillRef>
          <a:effectRef idx="0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40453" tIns="155177" rIns="140453" bIns="155177" numCol="1" spcCol="127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1100" kern="1200" dirty="0"/>
          </a:p>
        </p:txBody>
      </p:sp>
      <p:sp>
        <p:nvSpPr>
          <p:cNvPr id="113" name="Freeform 112"/>
          <p:cNvSpPr/>
          <p:nvPr/>
        </p:nvSpPr>
        <p:spPr>
          <a:xfrm>
            <a:off x="6585329" y="2016363"/>
            <a:ext cx="171810" cy="95450"/>
          </a:xfrm>
          <a:custGeom>
            <a:avLst/>
            <a:gdLst>
              <a:gd name="connsiteX0" fmla="*/ 0 w 784997"/>
              <a:gd name="connsiteY0" fmla="*/ 0 h 436109"/>
              <a:gd name="connsiteX1" fmla="*/ 784997 w 784997"/>
              <a:gd name="connsiteY1" fmla="*/ 0 h 436109"/>
              <a:gd name="connsiteX2" fmla="*/ 784997 w 784997"/>
              <a:gd name="connsiteY2" fmla="*/ 436109 h 436109"/>
              <a:gd name="connsiteX3" fmla="*/ 0 w 784997"/>
              <a:gd name="connsiteY3" fmla="*/ 436109 h 436109"/>
              <a:gd name="connsiteX4" fmla="*/ 0 w 784997"/>
              <a:gd name="connsiteY4" fmla="*/ 0 h 4361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4997" h="436109">
                <a:moveTo>
                  <a:pt x="0" y="0"/>
                </a:moveTo>
                <a:lnTo>
                  <a:pt x="784997" y="0"/>
                </a:lnTo>
                <a:lnTo>
                  <a:pt x="784997" y="436109"/>
                </a:lnTo>
                <a:lnTo>
                  <a:pt x="0" y="436109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6200" tIns="76200" rIns="76200" bIns="76200" numCol="1" spcCol="127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2000" kern="1200" dirty="0"/>
          </a:p>
        </p:txBody>
      </p:sp>
      <p:sp>
        <p:nvSpPr>
          <p:cNvPr id="114" name="Freeform 113"/>
          <p:cNvSpPr/>
          <p:nvPr/>
        </p:nvSpPr>
        <p:spPr>
          <a:xfrm>
            <a:off x="7932153" y="2925370"/>
            <a:ext cx="138402" cy="159083"/>
          </a:xfrm>
          <a:custGeom>
            <a:avLst/>
            <a:gdLst>
              <a:gd name="connsiteX0" fmla="*/ 0 w 726849"/>
              <a:gd name="connsiteY0" fmla="*/ 316180 h 632359"/>
              <a:gd name="connsiteX1" fmla="*/ 158090 w 726849"/>
              <a:gd name="connsiteY1" fmla="*/ 0 h 632359"/>
              <a:gd name="connsiteX2" fmla="*/ 568759 w 726849"/>
              <a:gd name="connsiteY2" fmla="*/ 0 h 632359"/>
              <a:gd name="connsiteX3" fmla="*/ 726849 w 726849"/>
              <a:gd name="connsiteY3" fmla="*/ 316180 h 632359"/>
              <a:gd name="connsiteX4" fmla="*/ 568759 w 726849"/>
              <a:gd name="connsiteY4" fmla="*/ 632359 h 632359"/>
              <a:gd name="connsiteX5" fmla="*/ 158090 w 726849"/>
              <a:gd name="connsiteY5" fmla="*/ 632359 h 632359"/>
              <a:gd name="connsiteX6" fmla="*/ 0 w 726849"/>
              <a:gd name="connsiteY6" fmla="*/ 316180 h 632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26849" h="632359">
                <a:moveTo>
                  <a:pt x="363424" y="0"/>
                </a:moveTo>
                <a:lnTo>
                  <a:pt x="726849" y="137538"/>
                </a:lnTo>
                <a:lnTo>
                  <a:pt x="726849" y="494821"/>
                </a:lnTo>
                <a:lnTo>
                  <a:pt x="363424" y="632359"/>
                </a:lnTo>
                <a:lnTo>
                  <a:pt x="0" y="494821"/>
                </a:lnTo>
                <a:lnTo>
                  <a:pt x="0" y="137538"/>
                </a:lnTo>
                <a:lnTo>
                  <a:pt x="363424" y="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hueOff val="0"/>
              <a:satOff val="0"/>
              <a:lumOff val="0"/>
              <a:alphaOff val="0"/>
            </a:schemeClr>
          </a:fillRef>
          <a:effectRef idx="0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8543" tIns="113267" rIns="98543" bIns="113267" numCol="1" spcCol="127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 defTabSz="1555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3500" kern="1200"/>
          </a:p>
        </p:txBody>
      </p:sp>
      <p:sp>
        <p:nvSpPr>
          <p:cNvPr id="115" name="Freeform 114"/>
          <p:cNvSpPr/>
          <p:nvPr/>
        </p:nvSpPr>
        <p:spPr>
          <a:xfrm>
            <a:off x="7857702" y="3060400"/>
            <a:ext cx="138403" cy="159083"/>
          </a:xfrm>
          <a:custGeom>
            <a:avLst/>
            <a:gdLst>
              <a:gd name="connsiteX0" fmla="*/ 0 w 726849"/>
              <a:gd name="connsiteY0" fmla="*/ 316180 h 632359"/>
              <a:gd name="connsiteX1" fmla="*/ 158090 w 726849"/>
              <a:gd name="connsiteY1" fmla="*/ 0 h 632359"/>
              <a:gd name="connsiteX2" fmla="*/ 568759 w 726849"/>
              <a:gd name="connsiteY2" fmla="*/ 0 h 632359"/>
              <a:gd name="connsiteX3" fmla="*/ 726849 w 726849"/>
              <a:gd name="connsiteY3" fmla="*/ 316180 h 632359"/>
              <a:gd name="connsiteX4" fmla="*/ 568759 w 726849"/>
              <a:gd name="connsiteY4" fmla="*/ 632359 h 632359"/>
              <a:gd name="connsiteX5" fmla="*/ 158090 w 726849"/>
              <a:gd name="connsiteY5" fmla="*/ 632359 h 632359"/>
              <a:gd name="connsiteX6" fmla="*/ 0 w 726849"/>
              <a:gd name="connsiteY6" fmla="*/ 316180 h 632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26849" h="632359">
                <a:moveTo>
                  <a:pt x="363424" y="0"/>
                </a:moveTo>
                <a:lnTo>
                  <a:pt x="726849" y="137538"/>
                </a:lnTo>
                <a:lnTo>
                  <a:pt x="726849" y="494821"/>
                </a:lnTo>
                <a:lnTo>
                  <a:pt x="363424" y="632359"/>
                </a:lnTo>
                <a:lnTo>
                  <a:pt x="0" y="494821"/>
                </a:lnTo>
                <a:lnTo>
                  <a:pt x="0" y="137538"/>
                </a:lnTo>
                <a:lnTo>
                  <a:pt x="363424" y="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6">
              <a:hueOff val="0"/>
              <a:satOff val="0"/>
              <a:lumOff val="0"/>
              <a:alphaOff val="0"/>
            </a:schemeClr>
          </a:fillRef>
          <a:effectRef idx="0">
            <a:schemeClr val="accent6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40453" tIns="155177" rIns="140454" bIns="155178" numCol="1" spcCol="127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1100" kern="1200" dirty="0"/>
          </a:p>
        </p:txBody>
      </p:sp>
      <p:sp>
        <p:nvSpPr>
          <p:cNvPr id="116" name="Freeform 115"/>
          <p:cNvSpPr/>
          <p:nvPr/>
        </p:nvSpPr>
        <p:spPr>
          <a:xfrm>
            <a:off x="6980492" y="2151392"/>
            <a:ext cx="177537" cy="95450"/>
          </a:xfrm>
          <a:custGeom>
            <a:avLst/>
            <a:gdLst>
              <a:gd name="connsiteX0" fmla="*/ 0 w 811164"/>
              <a:gd name="connsiteY0" fmla="*/ 0 h 436109"/>
              <a:gd name="connsiteX1" fmla="*/ 811164 w 811164"/>
              <a:gd name="connsiteY1" fmla="*/ 0 h 436109"/>
              <a:gd name="connsiteX2" fmla="*/ 811164 w 811164"/>
              <a:gd name="connsiteY2" fmla="*/ 436109 h 436109"/>
              <a:gd name="connsiteX3" fmla="*/ 0 w 811164"/>
              <a:gd name="connsiteY3" fmla="*/ 436109 h 436109"/>
              <a:gd name="connsiteX4" fmla="*/ 0 w 811164"/>
              <a:gd name="connsiteY4" fmla="*/ 0 h 4361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164" h="436109">
                <a:moveTo>
                  <a:pt x="0" y="0"/>
                </a:moveTo>
                <a:lnTo>
                  <a:pt x="811164" y="0"/>
                </a:lnTo>
                <a:lnTo>
                  <a:pt x="811164" y="436109"/>
                </a:lnTo>
                <a:lnTo>
                  <a:pt x="0" y="436109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6200" tIns="76200" rIns="76200" bIns="76200" numCol="1" spcCol="127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2000" kern="1200"/>
          </a:p>
        </p:txBody>
      </p:sp>
      <p:sp>
        <p:nvSpPr>
          <p:cNvPr id="117" name="Freeform 116"/>
          <p:cNvSpPr/>
          <p:nvPr/>
        </p:nvSpPr>
        <p:spPr>
          <a:xfrm>
            <a:off x="7708227" y="3060400"/>
            <a:ext cx="138402" cy="159083"/>
          </a:xfrm>
          <a:custGeom>
            <a:avLst/>
            <a:gdLst>
              <a:gd name="connsiteX0" fmla="*/ 0 w 726849"/>
              <a:gd name="connsiteY0" fmla="*/ 316180 h 632359"/>
              <a:gd name="connsiteX1" fmla="*/ 158090 w 726849"/>
              <a:gd name="connsiteY1" fmla="*/ 0 h 632359"/>
              <a:gd name="connsiteX2" fmla="*/ 568759 w 726849"/>
              <a:gd name="connsiteY2" fmla="*/ 0 h 632359"/>
              <a:gd name="connsiteX3" fmla="*/ 726849 w 726849"/>
              <a:gd name="connsiteY3" fmla="*/ 316180 h 632359"/>
              <a:gd name="connsiteX4" fmla="*/ 568759 w 726849"/>
              <a:gd name="connsiteY4" fmla="*/ 632359 h 632359"/>
              <a:gd name="connsiteX5" fmla="*/ 158090 w 726849"/>
              <a:gd name="connsiteY5" fmla="*/ 632359 h 632359"/>
              <a:gd name="connsiteX6" fmla="*/ 0 w 726849"/>
              <a:gd name="connsiteY6" fmla="*/ 316180 h 632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26849" h="632359">
                <a:moveTo>
                  <a:pt x="363424" y="0"/>
                </a:moveTo>
                <a:lnTo>
                  <a:pt x="726849" y="137538"/>
                </a:lnTo>
                <a:lnTo>
                  <a:pt x="726849" y="494821"/>
                </a:lnTo>
                <a:lnTo>
                  <a:pt x="363424" y="632359"/>
                </a:lnTo>
                <a:lnTo>
                  <a:pt x="0" y="494821"/>
                </a:lnTo>
                <a:lnTo>
                  <a:pt x="0" y="137538"/>
                </a:lnTo>
                <a:lnTo>
                  <a:pt x="363424" y="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hueOff val="0"/>
              <a:satOff val="0"/>
              <a:lumOff val="0"/>
              <a:alphaOff val="0"/>
            </a:schemeClr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8543" tIns="113267" rIns="98543" bIns="113267" numCol="1" spcCol="127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 defTabSz="1555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3500" kern="1200"/>
          </a:p>
        </p:txBody>
      </p:sp>
      <p:sp>
        <p:nvSpPr>
          <p:cNvPr id="118" name="Freeform 117"/>
          <p:cNvSpPr/>
          <p:nvPr/>
        </p:nvSpPr>
        <p:spPr>
          <a:xfrm>
            <a:off x="8081986" y="558919"/>
            <a:ext cx="138402" cy="159083"/>
          </a:xfrm>
          <a:custGeom>
            <a:avLst/>
            <a:gdLst>
              <a:gd name="connsiteX0" fmla="*/ 0 w 726849"/>
              <a:gd name="connsiteY0" fmla="*/ 316180 h 632359"/>
              <a:gd name="connsiteX1" fmla="*/ 158090 w 726849"/>
              <a:gd name="connsiteY1" fmla="*/ 0 h 632359"/>
              <a:gd name="connsiteX2" fmla="*/ 568759 w 726849"/>
              <a:gd name="connsiteY2" fmla="*/ 0 h 632359"/>
              <a:gd name="connsiteX3" fmla="*/ 726849 w 726849"/>
              <a:gd name="connsiteY3" fmla="*/ 316180 h 632359"/>
              <a:gd name="connsiteX4" fmla="*/ 568759 w 726849"/>
              <a:gd name="connsiteY4" fmla="*/ 632359 h 632359"/>
              <a:gd name="connsiteX5" fmla="*/ 158090 w 726849"/>
              <a:gd name="connsiteY5" fmla="*/ 632359 h 632359"/>
              <a:gd name="connsiteX6" fmla="*/ 0 w 726849"/>
              <a:gd name="connsiteY6" fmla="*/ 316180 h 632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26849" h="632359">
                <a:moveTo>
                  <a:pt x="363424" y="0"/>
                </a:moveTo>
                <a:lnTo>
                  <a:pt x="726849" y="137538"/>
                </a:lnTo>
                <a:lnTo>
                  <a:pt x="726849" y="494821"/>
                </a:lnTo>
                <a:lnTo>
                  <a:pt x="363424" y="632359"/>
                </a:lnTo>
                <a:lnTo>
                  <a:pt x="0" y="494821"/>
                </a:lnTo>
                <a:lnTo>
                  <a:pt x="0" y="137538"/>
                </a:lnTo>
                <a:lnTo>
                  <a:pt x="363424" y="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hueOff val="0"/>
              <a:satOff val="0"/>
              <a:lumOff val="0"/>
              <a:alphaOff val="0"/>
            </a:schemeClr>
          </a:fillRef>
          <a:effectRef idx="0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40453" tIns="155177" rIns="140453" bIns="155177" numCol="1" spcCol="127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1100" kern="1200" dirty="0"/>
          </a:p>
        </p:txBody>
      </p:sp>
      <p:sp>
        <p:nvSpPr>
          <p:cNvPr id="119" name="Freeform 118"/>
          <p:cNvSpPr/>
          <p:nvPr/>
        </p:nvSpPr>
        <p:spPr>
          <a:xfrm>
            <a:off x="8157010" y="693949"/>
            <a:ext cx="138403" cy="159083"/>
          </a:xfrm>
          <a:custGeom>
            <a:avLst/>
            <a:gdLst>
              <a:gd name="connsiteX0" fmla="*/ 0 w 726849"/>
              <a:gd name="connsiteY0" fmla="*/ 316180 h 632359"/>
              <a:gd name="connsiteX1" fmla="*/ 158090 w 726849"/>
              <a:gd name="connsiteY1" fmla="*/ 0 h 632359"/>
              <a:gd name="connsiteX2" fmla="*/ 568759 w 726849"/>
              <a:gd name="connsiteY2" fmla="*/ 0 h 632359"/>
              <a:gd name="connsiteX3" fmla="*/ 726849 w 726849"/>
              <a:gd name="connsiteY3" fmla="*/ 316180 h 632359"/>
              <a:gd name="connsiteX4" fmla="*/ 568759 w 726849"/>
              <a:gd name="connsiteY4" fmla="*/ 632359 h 632359"/>
              <a:gd name="connsiteX5" fmla="*/ 158090 w 726849"/>
              <a:gd name="connsiteY5" fmla="*/ 632359 h 632359"/>
              <a:gd name="connsiteX6" fmla="*/ 0 w 726849"/>
              <a:gd name="connsiteY6" fmla="*/ 316180 h 632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26849" h="632359">
                <a:moveTo>
                  <a:pt x="363424" y="0"/>
                </a:moveTo>
                <a:lnTo>
                  <a:pt x="726849" y="137538"/>
                </a:lnTo>
                <a:lnTo>
                  <a:pt x="726849" y="494821"/>
                </a:lnTo>
                <a:lnTo>
                  <a:pt x="363424" y="632359"/>
                </a:lnTo>
                <a:lnTo>
                  <a:pt x="0" y="494821"/>
                </a:lnTo>
                <a:lnTo>
                  <a:pt x="0" y="137538"/>
                </a:lnTo>
                <a:lnTo>
                  <a:pt x="363424" y="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6">
              <a:hueOff val="0"/>
              <a:satOff val="0"/>
              <a:lumOff val="0"/>
              <a:alphaOff val="0"/>
            </a:schemeClr>
          </a:fillRef>
          <a:effectRef idx="0">
            <a:schemeClr val="accent6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40453" tIns="155177" rIns="140454" bIns="155178" numCol="1" spcCol="127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1100" kern="1200" dirty="0"/>
          </a:p>
        </p:txBody>
      </p:sp>
      <p:sp>
        <p:nvSpPr>
          <p:cNvPr id="120" name="Freeform 119"/>
          <p:cNvSpPr/>
          <p:nvPr/>
        </p:nvSpPr>
        <p:spPr>
          <a:xfrm>
            <a:off x="8007535" y="693949"/>
            <a:ext cx="138402" cy="159083"/>
          </a:xfrm>
          <a:custGeom>
            <a:avLst/>
            <a:gdLst>
              <a:gd name="connsiteX0" fmla="*/ 0 w 726849"/>
              <a:gd name="connsiteY0" fmla="*/ 316180 h 632359"/>
              <a:gd name="connsiteX1" fmla="*/ 158090 w 726849"/>
              <a:gd name="connsiteY1" fmla="*/ 0 h 632359"/>
              <a:gd name="connsiteX2" fmla="*/ 568759 w 726849"/>
              <a:gd name="connsiteY2" fmla="*/ 0 h 632359"/>
              <a:gd name="connsiteX3" fmla="*/ 726849 w 726849"/>
              <a:gd name="connsiteY3" fmla="*/ 316180 h 632359"/>
              <a:gd name="connsiteX4" fmla="*/ 568759 w 726849"/>
              <a:gd name="connsiteY4" fmla="*/ 632359 h 632359"/>
              <a:gd name="connsiteX5" fmla="*/ 158090 w 726849"/>
              <a:gd name="connsiteY5" fmla="*/ 632359 h 632359"/>
              <a:gd name="connsiteX6" fmla="*/ 0 w 726849"/>
              <a:gd name="connsiteY6" fmla="*/ 316180 h 632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26849" h="632359">
                <a:moveTo>
                  <a:pt x="363424" y="0"/>
                </a:moveTo>
                <a:lnTo>
                  <a:pt x="726849" y="137538"/>
                </a:lnTo>
                <a:lnTo>
                  <a:pt x="726849" y="494821"/>
                </a:lnTo>
                <a:lnTo>
                  <a:pt x="363424" y="632359"/>
                </a:lnTo>
                <a:lnTo>
                  <a:pt x="0" y="494821"/>
                </a:lnTo>
                <a:lnTo>
                  <a:pt x="0" y="137538"/>
                </a:lnTo>
                <a:lnTo>
                  <a:pt x="363424" y="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hueOff val="0"/>
              <a:satOff val="0"/>
              <a:lumOff val="0"/>
              <a:alphaOff val="0"/>
            </a:schemeClr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8543" tIns="113267" rIns="98543" bIns="113267" numCol="1" spcCol="127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 defTabSz="1555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3500" kern="1200"/>
          </a:p>
        </p:txBody>
      </p:sp>
      <p:sp>
        <p:nvSpPr>
          <p:cNvPr id="121" name="Freeform 120"/>
          <p:cNvSpPr/>
          <p:nvPr/>
        </p:nvSpPr>
        <p:spPr>
          <a:xfrm>
            <a:off x="5153716" y="1693998"/>
            <a:ext cx="138403" cy="159083"/>
          </a:xfrm>
          <a:custGeom>
            <a:avLst/>
            <a:gdLst>
              <a:gd name="connsiteX0" fmla="*/ 0 w 726849"/>
              <a:gd name="connsiteY0" fmla="*/ 316180 h 632359"/>
              <a:gd name="connsiteX1" fmla="*/ 158090 w 726849"/>
              <a:gd name="connsiteY1" fmla="*/ 0 h 632359"/>
              <a:gd name="connsiteX2" fmla="*/ 568759 w 726849"/>
              <a:gd name="connsiteY2" fmla="*/ 0 h 632359"/>
              <a:gd name="connsiteX3" fmla="*/ 726849 w 726849"/>
              <a:gd name="connsiteY3" fmla="*/ 316180 h 632359"/>
              <a:gd name="connsiteX4" fmla="*/ 568759 w 726849"/>
              <a:gd name="connsiteY4" fmla="*/ 632359 h 632359"/>
              <a:gd name="connsiteX5" fmla="*/ 158090 w 726849"/>
              <a:gd name="connsiteY5" fmla="*/ 632359 h 632359"/>
              <a:gd name="connsiteX6" fmla="*/ 0 w 726849"/>
              <a:gd name="connsiteY6" fmla="*/ 316180 h 632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26849" h="632359">
                <a:moveTo>
                  <a:pt x="363424" y="0"/>
                </a:moveTo>
                <a:lnTo>
                  <a:pt x="726849" y="137538"/>
                </a:lnTo>
                <a:lnTo>
                  <a:pt x="726849" y="494821"/>
                </a:lnTo>
                <a:lnTo>
                  <a:pt x="363424" y="632359"/>
                </a:lnTo>
                <a:lnTo>
                  <a:pt x="0" y="494821"/>
                </a:lnTo>
                <a:lnTo>
                  <a:pt x="0" y="137538"/>
                </a:lnTo>
                <a:lnTo>
                  <a:pt x="363424" y="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hueOff val="0"/>
              <a:satOff val="0"/>
              <a:lumOff val="0"/>
              <a:alphaOff val="0"/>
            </a:schemeClr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40453" tIns="155177" rIns="140454" bIns="155177" numCol="1" spcCol="127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1100" kern="1200" dirty="0"/>
          </a:p>
        </p:txBody>
      </p:sp>
      <p:sp>
        <p:nvSpPr>
          <p:cNvPr id="122" name="Freeform 121"/>
          <p:cNvSpPr/>
          <p:nvPr/>
        </p:nvSpPr>
        <p:spPr>
          <a:xfrm>
            <a:off x="5004241" y="1693998"/>
            <a:ext cx="138402" cy="159083"/>
          </a:xfrm>
          <a:custGeom>
            <a:avLst/>
            <a:gdLst>
              <a:gd name="connsiteX0" fmla="*/ 0 w 726849"/>
              <a:gd name="connsiteY0" fmla="*/ 316180 h 632359"/>
              <a:gd name="connsiteX1" fmla="*/ 158090 w 726849"/>
              <a:gd name="connsiteY1" fmla="*/ 0 h 632359"/>
              <a:gd name="connsiteX2" fmla="*/ 568759 w 726849"/>
              <a:gd name="connsiteY2" fmla="*/ 0 h 632359"/>
              <a:gd name="connsiteX3" fmla="*/ 726849 w 726849"/>
              <a:gd name="connsiteY3" fmla="*/ 316180 h 632359"/>
              <a:gd name="connsiteX4" fmla="*/ 568759 w 726849"/>
              <a:gd name="connsiteY4" fmla="*/ 632359 h 632359"/>
              <a:gd name="connsiteX5" fmla="*/ 158090 w 726849"/>
              <a:gd name="connsiteY5" fmla="*/ 632359 h 632359"/>
              <a:gd name="connsiteX6" fmla="*/ 0 w 726849"/>
              <a:gd name="connsiteY6" fmla="*/ 316180 h 632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26849" h="632359">
                <a:moveTo>
                  <a:pt x="363424" y="0"/>
                </a:moveTo>
                <a:lnTo>
                  <a:pt x="726849" y="137538"/>
                </a:lnTo>
                <a:lnTo>
                  <a:pt x="726849" y="494821"/>
                </a:lnTo>
                <a:lnTo>
                  <a:pt x="363424" y="632359"/>
                </a:lnTo>
                <a:lnTo>
                  <a:pt x="0" y="494821"/>
                </a:lnTo>
                <a:lnTo>
                  <a:pt x="0" y="137538"/>
                </a:lnTo>
                <a:lnTo>
                  <a:pt x="363424" y="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8543" tIns="113267" rIns="98543" bIns="113267" numCol="1" spcCol="127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 defTabSz="1555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3500" kern="1200"/>
          </a:p>
        </p:txBody>
      </p:sp>
      <p:sp>
        <p:nvSpPr>
          <p:cNvPr id="123" name="Freeform 122"/>
          <p:cNvSpPr/>
          <p:nvPr/>
        </p:nvSpPr>
        <p:spPr>
          <a:xfrm>
            <a:off x="5078692" y="1829028"/>
            <a:ext cx="138402" cy="159083"/>
          </a:xfrm>
          <a:custGeom>
            <a:avLst/>
            <a:gdLst>
              <a:gd name="connsiteX0" fmla="*/ 0 w 726849"/>
              <a:gd name="connsiteY0" fmla="*/ 316180 h 632359"/>
              <a:gd name="connsiteX1" fmla="*/ 158090 w 726849"/>
              <a:gd name="connsiteY1" fmla="*/ 0 h 632359"/>
              <a:gd name="connsiteX2" fmla="*/ 568759 w 726849"/>
              <a:gd name="connsiteY2" fmla="*/ 0 h 632359"/>
              <a:gd name="connsiteX3" fmla="*/ 726849 w 726849"/>
              <a:gd name="connsiteY3" fmla="*/ 316180 h 632359"/>
              <a:gd name="connsiteX4" fmla="*/ 568759 w 726849"/>
              <a:gd name="connsiteY4" fmla="*/ 632359 h 632359"/>
              <a:gd name="connsiteX5" fmla="*/ 158090 w 726849"/>
              <a:gd name="connsiteY5" fmla="*/ 632359 h 632359"/>
              <a:gd name="connsiteX6" fmla="*/ 0 w 726849"/>
              <a:gd name="connsiteY6" fmla="*/ 316180 h 632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26849" h="632359">
                <a:moveTo>
                  <a:pt x="363424" y="0"/>
                </a:moveTo>
                <a:lnTo>
                  <a:pt x="726849" y="137538"/>
                </a:lnTo>
                <a:lnTo>
                  <a:pt x="726849" y="494821"/>
                </a:lnTo>
                <a:lnTo>
                  <a:pt x="363424" y="632359"/>
                </a:lnTo>
                <a:lnTo>
                  <a:pt x="0" y="494821"/>
                </a:lnTo>
                <a:lnTo>
                  <a:pt x="0" y="137538"/>
                </a:lnTo>
                <a:lnTo>
                  <a:pt x="363424" y="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hueOff val="0"/>
              <a:satOff val="0"/>
              <a:lumOff val="0"/>
              <a:alphaOff val="0"/>
            </a:schemeClr>
          </a:fillRef>
          <a:effectRef idx="0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40453" tIns="155177" rIns="140453" bIns="155177" numCol="1" spcCol="127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1100" kern="1200" dirty="0"/>
          </a:p>
        </p:txBody>
      </p:sp>
      <p:sp>
        <p:nvSpPr>
          <p:cNvPr id="124" name="Freeform 123"/>
          <p:cNvSpPr/>
          <p:nvPr/>
        </p:nvSpPr>
        <p:spPr>
          <a:xfrm>
            <a:off x="8669096" y="1698470"/>
            <a:ext cx="138403" cy="159083"/>
          </a:xfrm>
          <a:custGeom>
            <a:avLst/>
            <a:gdLst>
              <a:gd name="connsiteX0" fmla="*/ 0 w 726849"/>
              <a:gd name="connsiteY0" fmla="*/ 316180 h 632359"/>
              <a:gd name="connsiteX1" fmla="*/ 158090 w 726849"/>
              <a:gd name="connsiteY1" fmla="*/ 0 h 632359"/>
              <a:gd name="connsiteX2" fmla="*/ 568759 w 726849"/>
              <a:gd name="connsiteY2" fmla="*/ 0 h 632359"/>
              <a:gd name="connsiteX3" fmla="*/ 726849 w 726849"/>
              <a:gd name="connsiteY3" fmla="*/ 316180 h 632359"/>
              <a:gd name="connsiteX4" fmla="*/ 568759 w 726849"/>
              <a:gd name="connsiteY4" fmla="*/ 632359 h 632359"/>
              <a:gd name="connsiteX5" fmla="*/ 158090 w 726849"/>
              <a:gd name="connsiteY5" fmla="*/ 632359 h 632359"/>
              <a:gd name="connsiteX6" fmla="*/ 0 w 726849"/>
              <a:gd name="connsiteY6" fmla="*/ 316180 h 632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26849" h="632359">
                <a:moveTo>
                  <a:pt x="363424" y="0"/>
                </a:moveTo>
                <a:lnTo>
                  <a:pt x="726849" y="137538"/>
                </a:lnTo>
                <a:lnTo>
                  <a:pt x="726849" y="494821"/>
                </a:lnTo>
                <a:lnTo>
                  <a:pt x="363424" y="632359"/>
                </a:lnTo>
                <a:lnTo>
                  <a:pt x="0" y="494821"/>
                </a:lnTo>
                <a:lnTo>
                  <a:pt x="0" y="137538"/>
                </a:lnTo>
                <a:lnTo>
                  <a:pt x="363424" y="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hueOff val="0"/>
              <a:satOff val="0"/>
              <a:lumOff val="0"/>
              <a:alphaOff val="0"/>
            </a:schemeClr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40453" tIns="155177" rIns="140454" bIns="155177" numCol="1" spcCol="127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1100" kern="1200" dirty="0"/>
          </a:p>
        </p:txBody>
      </p:sp>
      <p:sp>
        <p:nvSpPr>
          <p:cNvPr id="125" name="Freeform 124"/>
          <p:cNvSpPr/>
          <p:nvPr/>
        </p:nvSpPr>
        <p:spPr>
          <a:xfrm>
            <a:off x="8591991" y="1563017"/>
            <a:ext cx="138402" cy="159083"/>
          </a:xfrm>
          <a:custGeom>
            <a:avLst/>
            <a:gdLst>
              <a:gd name="connsiteX0" fmla="*/ 0 w 726849"/>
              <a:gd name="connsiteY0" fmla="*/ 316180 h 632359"/>
              <a:gd name="connsiteX1" fmla="*/ 158090 w 726849"/>
              <a:gd name="connsiteY1" fmla="*/ 0 h 632359"/>
              <a:gd name="connsiteX2" fmla="*/ 568759 w 726849"/>
              <a:gd name="connsiteY2" fmla="*/ 0 h 632359"/>
              <a:gd name="connsiteX3" fmla="*/ 726849 w 726849"/>
              <a:gd name="connsiteY3" fmla="*/ 316180 h 632359"/>
              <a:gd name="connsiteX4" fmla="*/ 568759 w 726849"/>
              <a:gd name="connsiteY4" fmla="*/ 632359 h 632359"/>
              <a:gd name="connsiteX5" fmla="*/ 158090 w 726849"/>
              <a:gd name="connsiteY5" fmla="*/ 632359 h 632359"/>
              <a:gd name="connsiteX6" fmla="*/ 0 w 726849"/>
              <a:gd name="connsiteY6" fmla="*/ 316180 h 632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26849" h="632359">
                <a:moveTo>
                  <a:pt x="363424" y="0"/>
                </a:moveTo>
                <a:lnTo>
                  <a:pt x="726849" y="137538"/>
                </a:lnTo>
                <a:lnTo>
                  <a:pt x="726849" y="494821"/>
                </a:lnTo>
                <a:lnTo>
                  <a:pt x="363424" y="632359"/>
                </a:lnTo>
                <a:lnTo>
                  <a:pt x="0" y="494821"/>
                </a:lnTo>
                <a:lnTo>
                  <a:pt x="0" y="137538"/>
                </a:lnTo>
                <a:lnTo>
                  <a:pt x="363424" y="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hueOff val="0"/>
              <a:satOff val="0"/>
              <a:lumOff val="0"/>
              <a:alphaOff val="0"/>
            </a:schemeClr>
          </a:fillRef>
          <a:effectRef idx="0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8543" tIns="113267" rIns="98543" bIns="113267" numCol="1" spcCol="127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 defTabSz="1555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3500" kern="1200"/>
          </a:p>
        </p:txBody>
      </p:sp>
      <p:sp>
        <p:nvSpPr>
          <p:cNvPr id="126" name="Freeform 125"/>
          <p:cNvSpPr/>
          <p:nvPr/>
        </p:nvSpPr>
        <p:spPr>
          <a:xfrm>
            <a:off x="8517540" y="1698047"/>
            <a:ext cx="138403" cy="159083"/>
          </a:xfrm>
          <a:custGeom>
            <a:avLst/>
            <a:gdLst>
              <a:gd name="connsiteX0" fmla="*/ 0 w 726849"/>
              <a:gd name="connsiteY0" fmla="*/ 316180 h 632359"/>
              <a:gd name="connsiteX1" fmla="*/ 158090 w 726849"/>
              <a:gd name="connsiteY1" fmla="*/ 0 h 632359"/>
              <a:gd name="connsiteX2" fmla="*/ 568759 w 726849"/>
              <a:gd name="connsiteY2" fmla="*/ 0 h 632359"/>
              <a:gd name="connsiteX3" fmla="*/ 726849 w 726849"/>
              <a:gd name="connsiteY3" fmla="*/ 316180 h 632359"/>
              <a:gd name="connsiteX4" fmla="*/ 568759 w 726849"/>
              <a:gd name="connsiteY4" fmla="*/ 632359 h 632359"/>
              <a:gd name="connsiteX5" fmla="*/ 158090 w 726849"/>
              <a:gd name="connsiteY5" fmla="*/ 632359 h 632359"/>
              <a:gd name="connsiteX6" fmla="*/ 0 w 726849"/>
              <a:gd name="connsiteY6" fmla="*/ 316180 h 632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26849" h="632359">
                <a:moveTo>
                  <a:pt x="363424" y="0"/>
                </a:moveTo>
                <a:lnTo>
                  <a:pt x="726849" y="137538"/>
                </a:lnTo>
                <a:lnTo>
                  <a:pt x="726849" y="494821"/>
                </a:lnTo>
                <a:lnTo>
                  <a:pt x="363424" y="632359"/>
                </a:lnTo>
                <a:lnTo>
                  <a:pt x="0" y="494821"/>
                </a:lnTo>
                <a:lnTo>
                  <a:pt x="0" y="137538"/>
                </a:lnTo>
                <a:lnTo>
                  <a:pt x="363424" y="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6">
              <a:hueOff val="0"/>
              <a:satOff val="0"/>
              <a:lumOff val="0"/>
              <a:alphaOff val="0"/>
            </a:schemeClr>
          </a:fillRef>
          <a:effectRef idx="0">
            <a:schemeClr val="accent6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40453" tIns="155177" rIns="140454" bIns="155178" numCol="1" spcCol="127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1100" kern="1200" dirty="0"/>
          </a:p>
        </p:txBody>
      </p:sp>
      <p:sp>
        <p:nvSpPr>
          <p:cNvPr id="127" name="Freeform 126"/>
          <p:cNvSpPr/>
          <p:nvPr/>
        </p:nvSpPr>
        <p:spPr>
          <a:xfrm>
            <a:off x="4951326" y="655372"/>
            <a:ext cx="138403" cy="159083"/>
          </a:xfrm>
          <a:custGeom>
            <a:avLst/>
            <a:gdLst>
              <a:gd name="connsiteX0" fmla="*/ 0 w 726849"/>
              <a:gd name="connsiteY0" fmla="*/ 316180 h 632359"/>
              <a:gd name="connsiteX1" fmla="*/ 158090 w 726849"/>
              <a:gd name="connsiteY1" fmla="*/ 0 h 632359"/>
              <a:gd name="connsiteX2" fmla="*/ 568759 w 726849"/>
              <a:gd name="connsiteY2" fmla="*/ 0 h 632359"/>
              <a:gd name="connsiteX3" fmla="*/ 726849 w 726849"/>
              <a:gd name="connsiteY3" fmla="*/ 316180 h 632359"/>
              <a:gd name="connsiteX4" fmla="*/ 568759 w 726849"/>
              <a:gd name="connsiteY4" fmla="*/ 632359 h 632359"/>
              <a:gd name="connsiteX5" fmla="*/ 158090 w 726849"/>
              <a:gd name="connsiteY5" fmla="*/ 632359 h 632359"/>
              <a:gd name="connsiteX6" fmla="*/ 0 w 726849"/>
              <a:gd name="connsiteY6" fmla="*/ 316180 h 632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26849" h="632359">
                <a:moveTo>
                  <a:pt x="363424" y="0"/>
                </a:moveTo>
                <a:lnTo>
                  <a:pt x="726849" y="137538"/>
                </a:lnTo>
                <a:lnTo>
                  <a:pt x="726849" y="494821"/>
                </a:lnTo>
                <a:lnTo>
                  <a:pt x="363424" y="632359"/>
                </a:lnTo>
                <a:lnTo>
                  <a:pt x="0" y="494821"/>
                </a:lnTo>
                <a:lnTo>
                  <a:pt x="0" y="137538"/>
                </a:lnTo>
                <a:lnTo>
                  <a:pt x="363424" y="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hueOff val="0"/>
              <a:satOff val="0"/>
              <a:lumOff val="0"/>
              <a:alphaOff val="0"/>
            </a:schemeClr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40453" tIns="155177" rIns="140454" bIns="155177" numCol="1" spcCol="127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1100" kern="1200" dirty="0"/>
          </a:p>
        </p:txBody>
      </p:sp>
      <p:sp>
        <p:nvSpPr>
          <p:cNvPr id="128" name="Freeform 127"/>
          <p:cNvSpPr/>
          <p:nvPr/>
        </p:nvSpPr>
        <p:spPr>
          <a:xfrm>
            <a:off x="4876302" y="790402"/>
            <a:ext cx="138402" cy="159083"/>
          </a:xfrm>
          <a:custGeom>
            <a:avLst/>
            <a:gdLst>
              <a:gd name="connsiteX0" fmla="*/ 0 w 726849"/>
              <a:gd name="connsiteY0" fmla="*/ 316180 h 632359"/>
              <a:gd name="connsiteX1" fmla="*/ 158090 w 726849"/>
              <a:gd name="connsiteY1" fmla="*/ 0 h 632359"/>
              <a:gd name="connsiteX2" fmla="*/ 568759 w 726849"/>
              <a:gd name="connsiteY2" fmla="*/ 0 h 632359"/>
              <a:gd name="connsiteX3" fmla="*/ 726849 w 726849"/>
              <a:gd name="connsiteY3" fmla="*/ 316180 h 632359"/>
              <a:gd name="connsiteX4" fmla="*/ 568759 w 726849"/>
              <a:gd name="connsiteY4" fmla="*/ 632359 h 632359"/>
              <a:gd name="connsiteX5" fmla="*/ 158090 w 726849"/>
              <a:gd name="connsiteY5" fmla="*/ 632359 h 632359"/>
              <a:gd name="connsiteX6" fmla="*/ 0 w 726849"/>
              <a:gd name="connsiteY6" fmla="*/ 316180 h 632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26849" h="632359">
                <a:moveTo>
                  <a:pt x="363424" y="0"/>
                </a:moveTo>
                <a:lnTo>
                  <a:pt x="726849" y="137538"/>
                </a:lnTo>
                <a:lnTo>
                  <a:pt x="726849" y="494821"/>
                </a:lnTo>
                <a:lnTo>
                  <a:pt x="363424" y="632359"/>
                </a:lnTo>
                <a:lnTo>
                  <a:pt x="0" y="494821"/>
                </a:lnTo>
                <a:lnTo>
                  <a:pt x="0" y="137538"/>
                </a:lnTo>
                <a:lnTo>
                  <a:pt x="363424" y="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hueOff val="0"/>
              <a:satOff val="0"/>
              <a:lumOff val="0"/>
              <a:alphaOff val="0"/>
            </a:schemeClr>
          </a:fillRef>
          <a:effectRef idx="0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40453" tIns="155177" rIns="140453" bIns="155177" numCol="1" spcCol="127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1100" kern="1200" dirty="0"/>
          </a:p>
        </p:txBody>
      </p:sp>
      <p:sp>
        <p:nvSpPr>
          <p:cNvPr id="129" name="Freeform 128"/>
          <p:cNvSpPr/>
          <p:nvPr/>
        </p:nvSpPr>
        <p:spPr>
          <a:xfrm>
            <a:off x="5025777" y="790402"/>
            <a:ext cx="138402" cy="159083"/>
          </a:xfrm>
          <a:custGeom>
            <a:avLst/>
            <a:gdLst>
              <a:gd name="connsiteX0" fmla="*/ 0 w 726849"/>
              <a:gd name="connsiteY0" fmla="*/ 316180 h 632359"/>
              <a:gd name="connsiteX1" fmla="*/ 158090 w 726849"/>
              <a:gd name="connsiteY1" fmla="*/ 0 h 632359"/>
              <a:gd name="connsiteX2" fmla="*/ 568759 w 726849"/>
              <a:gd name="connsiteY2" fmla="*/ 0 h 632359"/>
              <a:gd name="connsiteX3" fmla="*/ 726849 w 726849"/>
              <a:gd name="connsiteY3" fmla="*/ 316180 h 632359"/>
              <a:gd name="connsiteX4" fmla="*/ 568759 w 726849"/>
              <a:gd name="connsiteY4" fmla="*/ 632359 h 632359"/>
              <a:gd name="connsiteX5" fmla="*/ 158090 w 726849"/>
              <a:gd name="connsiteY5" fmla="*/ 632359 h 632359"/>
              <a:gd name="connsiteX6" fmla="*/ 0 w 726849"/>
              <a:gd name="connsiteY6" fmla="*/ 316180 h 632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26849" h="632359">
                <a:moveTo>
                  <a:pt x="363424" y="0"/>
                </a:moveTo>
                <a:lnTo>
                  <a:pt x="726849" y="137538"/>
                </a:lnTo>
                <a:lnTo>
                  <a:pt x="726849" y="494821"/>
                </a:lnTo>
                <a:lnTo>
                  <a:pt x="363424" y="632359"/>
                </a:lnTo>
                <a:lnTo>
                  <a:pt x="0" y="494821"/>
                </a:lnTo>
                <a:lnTo>
                  <a:pt x="0" y="137538"/>
                </a:lnTo>
                <a:lnTo>
                  <a:pt x="363424" y="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hueOff val="0"/>
              <a:satOff val="0"/>
              <a:lumOff val="0"/>
              <a:alphaOff val="0"/>
            </a:schemeClr>
          </a:fillRef>
          <a:effectRef idx="0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8543" tIns="113267" rIns="98543" bIns="113267" numCol="1" spcCol="127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 defTabSz="1555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3500" kern="1200"/>
          </a:p>
        </p:txBody>
      </p:sp>
      <p:sp>
        <p:nvSpPr>
          <p:cNvPr id="130" name="Freeform 129"/>
          <p:cNvSpPr/>
          <p:nvPr/>
        </p:nvSpPr>
        <p:spPr>
          <a:xfrm>
            <a:off x="4951326" y="925432"/>
            <a:ext cx="138403" cy="159083"/>
          </a:xfrm>
          <a:custGeom>
            <a:avLst/>
            <a:gdLst>
              <a:gd name="connsiteX0" fmla="*/ 0 w 726849"/>
              <a:gd name="connsiteY0" fmla="*/ 316180 h 632359"/>
              <a:gd name="connsiteX1" fmla="*/ 158090 w 726849"/>
              <a:gd name="connsiteY1" fmla="*/ 0 h 632359"/>
              <a:gd name="connsiteX2" fmla="*/ 568759 w 726849"/>
              <a:gd name="connsiteY2" fmla="*/ 0 h 632359"/>
              <a:gd name="connsiteX3" fmla="*/ 726849 w 726849"/>
              <a:gd name="connsiteY3" fmla="*/ 316180 h 632359"/>
              <a:gd name="connsiteX4" fmla="*/ 568759 w 726849"/>
              <a:gd name="connsiteY4" fmla="*/ 632359 h 632359"/>
              <a:gd name="connsiteX5" fmla="*/ 158090 w 726849"/>
              <a:gd name="connsiteY5" fmla="*/ 632359 h 632359"/>
              <a:gd name="connsiteX6" fmla="*/ 0 w 726849"/>
              <a:gd name="connsiteY6" fmla="*/ 316180 h 632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26849" h="632359">
                <a:moveTo>
                  <a:pt x="363424" y="0"/>
                </a:moveTo>
                <a:lnTo>
                  <a:pt x="726849" y="137538"/>
                </a:lnTo>
                <a:lnTo>
                  <a:pt x="726849" y="494821"/>
                </a:lnTo>
                <a:lnTo>
                  <a:pt x="363424" y="632359"/>
                </a:lnTo>
                <a:lnTo>
                  <a:pt x="0" y="494821"/>
                </a:lnTo>
                <a:lnTo>
                  <a:pt x="0" y="137538"/>
                </a:lnTo>
                <a:lnTo>
                  <a:pt x="363424" y="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6">
              <a:hueOff val="0"/>
              <a:satOff val="0"/>
              <a:lumOff val="0"/>
              <a:alphaOff val="0"/>
            </a:schemeClr>
          </a:fillRef>
          <a:effectRef idx="0">
            <a:schemeClr val="accent6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40453" tIns="155177" rIns="140454" bIns="155178" numCol="1" spcCol="127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1100" kern="1200" dirty="0"/>
          </a:p>
        </p:txBody>
      </p:sp>
      <p:sp>
        <p:nvSpPr>
          <p:cNvPr id="131" name="Freeform 130"/>
          <p:cNvSpPr/>
          <p:nvPr/>
        </p:nvSpPr>
        <p:spPr>
          <a:xfrm>
            <a:off x="7369671" y="1778179"/>
            <a:ext cx="138403" cy="159083"/>
          </a:xfrm>
          <a:custGeom>
            <a:avLst/>
            <a:gdLst>
              <a:gd name="connsiteX0" fmla="*/ 0 w 726849"/>
              <a:gd name="connsiteY0" fmla="*/ 316180 h 632359"/>
              <a:gd name="connsiteX1" fmla="*/ 158090 w 726849"/>
              <a:gd name="connsiteY1" fmla="*/ 0 h 632359"/>
              <a:gd name="connsiteX2" fmla="*/ 568759 w 726849"/>
              <a:gd name="connsiteY2" fmla="*/ 0 h 632359"/>
              <a:gd name="connsiteX3" fmla="*/ 726849 w 726849"/>
              <a:gd name="connsiteY3" fmla="*/ 316180 h 632359"/>
              <a:gd name="connsiteX4" fmla="*/ 568759 w 726849"/>
              <a:gd name="connsiteY4" fmla="*/ 632359 h 632359"/>
              <a:gd name="connsiteX5" fmla="*/ 158090 w 726849"/>
              <a:gd name="connsiteY5" fmla="*/ 632359 h 632359"/>
              <a:gd name="connsiteX6" fmla="*/ 0 w 726849"/>
              <a:gd name="connsiteY6" fmla="*/ 316180 h 632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26849" h="632359">
                <a:moveTo>
                  <a:pt x="363424" y="0"/>
                </a:moveTo>
                <a:lnTo>
                  <a:pt x="726849" y="137538"/>
                </a:lnTo>
                <a:lnTo>
                  <a:pt x="726849" y="494821"/>
                </a:lnTo>
                <a:lnTo>
                  <a:pt x="363424" y="632359"/>
                </a:lnTo>
                <a:lnTo>
                  <a:pt x="0" y="494821"/>
                </a:lnTo>
                <a:lnTo>
                  <a:pt x="0" y="137538"/>
                </a:lnTo>
                <a:lnTo>
                  <a:pt x="363424" y="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hueOff val="0"/>
              <a:satOff val="0"/>
              <a:lumOff val="0"/>
              <a:alphaOff val="0"/>
            </a:schemeClr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40453" tIns="155177" rIns="140454" bIns="155177" numCol="1" spcCol="127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1100" kern="1200" dirty="0"/>
          </a:p>
        </p:txBody>
      </p:sp>
      <p:sp>
        <p:nvSpPr>
          <p:cNvPr id="132" name="Freeform 131"/>
          <p:cNvSpPr/>
          <p:nvPr/>
        </p:nvSpPr>
        <p:spPr>
          <a:xfrm>
            <a:off x="7220196" y="1778179"/>
            <a:ext cx="138402" cy="159083"/>
          </a:xfrm>
          <a:custGeom>
            <a:avLst/>
            <a:gdLst>
              <a:gd name="connsiteX0" fmla="*/ 0 w 726849"/>
              <a:gd name="connsiteY0" fmla="*/ 316180 h 632359"/>
              <a:gd name="connsiteX1" fmla="*/ 158090 w 726849"/>
              <a:gd name="connsiteY1" fmla="*/ 0 h 632359"/>
              <a:gd name="connsiteX2" fmla="*/ 568759 w 726849"/>
              <a:gd name="connsiteY2" fmla="*/ 0 h 632359"/>
              <a:gd name="connsiteX3" fmla="*/ 726849 w 726849"/>
              <a:gd name="connsiteY3" fmla="*/ 316180 h 632359"/>
              <a:gd name="connsiteX4" fmla="*/ 568759 w 726849"/>
              <a:gd name="connsiteY4" fmla="*/ 632359 h 632359"/>
              <a:gd name="connsiteX5" fmla="*/ 158090 w 726849"/>
              <a:gd name="connsiteY5" fmla="*/ 632359 h 632359"/>
              <a:gd name="connsiteX6" fmla="*/ 0 w 726849"/>
              <a:gd name="connsiteY6" fmla="*/ 316180 h 632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26849" h="632359">
                <a:moveTo>
                  <a:pt x="363424" y="0"/>
                </a:moveTo>
                <a:lnTo>
                  <a:pt x="726849" y="137538"/>
                </a:lnTo>
                <a:lnTo>
                  <a:pt x="726849" y="494821"/>
                </a:lnTo>
                <a:lnTo>
                  <a:pt x="363424" y="632359"/>
                </a:lnTo>
                <a:lnTo>
                  <a:pt x="0" y="494821"/>
                </a:lnTo>
                <a:lnTo>
                  <a:pt x="0" y="137538"/>
                </a:lnTo>
                <a:lnTo>
                  <a:pt x="363424" y="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8543" tIns="113267" rIns="98543" bIns="113267" numCol="1" spcCol="127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 defTabSz="1555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3500" kern="1200"/>
          </a:p>
        </p:txBody>
      </p:sp>
      <p:sp>
        <p:nvSpPr>
          <p:cNvPr id="133" name="Freeform 132"/>
          <p:cNvSpPr/>
          <p:nvPr/>
        </p:nvSpPr>
        <p:spPr>
          <a:xfrm>
            <a:off x="7294647" y="1913209"/>
            <a:ext cx="138402" cy="159083"/>
          </a:xfrm>
          <a:custGeom>
            <a:avLst/>
            <a:gdLst>
              <a:gd name="connsiteX0" fmla="*/ 0 w 726849"/>
              <a:gd name="connsiteY0" fmla="*/ 316180 h 632359"/>
              <a:gd name="connsiteX1" fmla="*/ 158090 w 726849"/>
              <a:gd name="connsiteY1" fmla="*/ 0 h 632359"/>
              <a:gd name="connsiteX2" fmla="*/ 568759 w 726849"/>
              <a:gd name="connsiteY2" fmla="*/ 0 h 632359"/>
              <a:gd name="connsiteX3" fmla="*/ 726849 w 726849"/>
              <a:gd name="connsiteY3" fmla="*/ 316180 h 632359"/>
              <a:gd name="connsiteX4" fmla="*/ 568759 w 726849"/>
              <a:gd name="connsiteY4" fmla="*/ 632359 h 632359"/>
              <a:gd name="connsiteX5" fmla="*/ 158090 w 726849"/>
              <a:gd name="connsiteY5" fmla="*/ 632359 h 632359"/>
              <a:gd name="connsiteX6" fmla="*/ 0 w 726849"/>
              <a:gd name="connsiteY6" fmla="*/ 316180 h 632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26849" h="632359">
                <a:moveTo>
                  <a:pt x="363424" y="0"/>
                </a:moveTo>
                <a:lnTo>
                  <a:pt x="726849" y="137538"/>
                </a:lnTo>
                <a:lnTo>
                  <a:pt x="726849" y="494821"/>
                </a:lnTo>
                <a:lnTo>
                  <a:pt x="363424" y="632359"/>
                </a:lnTo>
                <a:lnTo>
                  <a:pt x="0" y="494821"/>
                </a:lnTo>
                <a:lnTo>
                  <a:pt x="0" y="137538"/>
                </a:lnTo>
                <a:lnTo>
                  <a:pt x="363424" y="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hueOff val="0"/>
              <a:satOff val="0"/>
              <a:lumOff val="0"/>
              <a:alphaOff val="0"/>
            </a:schemeClr>
          </a:fillRef>
          <a:effectRef idx="0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40453" tIns="155177" rIns="140453" bIns="155177" numCol="1" spcCol="127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1100" kern="1200" dirty="0"/>
          </a:p>
        </p:txBody>
      </p:sp>
      <p:sp>
        <p:nvSpPr>
          <p:cNvPr id="134" name="Freeform 133"/>
          <p:cNvSpPr/>
          <p:nvPr/>
        </p:nvSpPr>
        <p:spPr>
          <a:xfrm>
            <a:off x="7369671" y="2048239"/>
            <a:ext cx="138403" cy="159083"/>
          </a:xfrm>
          <a:custGeom>
            <a:avLst/>
            <a:gdLst>
              <a:gd name="connsiteX0" fmla="*/ 0 w 726849"/>
              <a:gd name="connsiteY0" fmla="*/ 316180 h 632359"/>
              <a:gd name="connsiteX1" fmla="*/ 158090 w 726849"/>
              <a:gd name="connsiteY1" fmla="*/ 0 h 632359"/>
              <a:gd name="connsiteX2" fmla="*/ 568759 w 726849"/>
              <a:gd name="connsiteY2" fmla="*/ 0 h 632359"/>
              <a:gd name="connsiteX3" fmla="*/ 726849 w 726849"/>
              <a:gd name="connsiteY3" fmla="*/ 316180 h 632359"/>
              <a:gd name="connsiteX4" fmla="*/ 568759 w 726849"/>
              <a:gd name="connsiteY4" fmla="*/ 632359 h 632359"/>
              <a:gd name="connsiteX5" fmla="*/ 158090 w 726849"/>
              <a:gd name="connsiteY5" fmla="*/ 632359 h 632359"/>
              <a:gd name="connsiteX6" fmla="*/ 0 w 726849"/>
              <a:gd name="connsiteY6" fmla="*/ 316180 h 632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26849" h="632359">
                <a:moveTo>
                  <a:pt x="363424" y="0"/>
                </a:moveTo>
                <a:lnTo>
                  <a:pt x="726849" y="137538"/>
                </a:lnTo>
                <a:lnTo>
                  <a:pt x="726849" y="494821"/>
                </a:lnTo>
                <a:lnTo>
                  <a:pt x="363424" y="632359"/>
                </a:lnTo>
                <a:lnTo>
                  <a:pt x="0" y="494821"/>
                </a:lnTo>
                <a:lnTo>
                  <a:pt x="0" y="137538"/>
                </a:lnTo>
                <a:lnTo>
                  <a:pt x="363424" y="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6">
              <a:hueOff val="0"/>
              <a:satOff val="0"/>
              <a:lumOff val="0"/>
              <a:alphaOff val="0"/>
            </a:schemeClr>
          </a:fillRef>
          <a:effectRef idx="0">
            <a:schemeClr val="accent6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40453" tIns="155177" rIns="140454" bIns="155178" numCol="1" spcCol="127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1100" kern="1200" dirty="0"/>
          </a:p>
        </p:txBody>
      </p:sp>
      <p:sp>
        <p:nvSpPr>
          <p:cNvPr id="135" name="Freeform 134"/>
          <p:cNvSpPr/>
          <p:nvPr/>
        </p:nvSpPr>
        <p:spPr>
          <a:xfrm>
            <a:off x="7220196" y="2048239"/>
            <a:ext cx="138402" cy="159083"/>
          </a:xfrm>
          <a:custGeom>
            <a:avLst/>
            <a:gdLst>
              <a:gd name="connsiteX0" fmla="*/ 0 w 726849"/>
              <a:gd name="connsiteY0" fmla="*/ 316180 h 632359"/>
              <a:gd name="connsiteX1" fmla="*/ 158090 w 726849"/>
              <a:gd name="connsiteY1" fmla="*/ 0 h 632359"/>
              <a:gd name="connsiteX2" fmla="*/ 568759 w 726849"/>
              <a:gd name="connsiteY2" fmla="*/ 0 h 632359"/>
              <a:gd name="connsiteX3" fmla="*/ 726849 w 726849"/>
              <a:gd name="connsiteY3" fmla="*/ 316180 h 632359"/>
              <a:gd name="connsiteX4" fmla="*/ 568759 w 726849"/>
              <a:gd name="connsiteY4" fmla="*/ 632359 h 632359"/>
              <a:gd name="connsiteX5" fmla="*/ 158090 w 726849"/>
              <a:gd name="connsiteY5" fmla="*/ 632359 h 632359"/>
              <a:gd name="connsiteX6" fmla="*/ 0 w 726849"/>
              <a:gd name="connsiteY6" fmla="*/ 316180 h 632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26849" h="632359">
                <a:moveTo>
                  <a:pt x="363424" y="0"/>
                </a:moveTo>
                <a:lnTo>
                  <a:pt x="726849" y="137538"/>
                </a:lnTo>
                <a:lnTo>
                  <a:pt x="726849" y="494821"/>
                </a:lnTo>
                <a:lnTo>
                  <a:pt x="363424" y="632359"/>
                </a:lnTo>
                <a:lnTo>
                  <a:pt x="0" y="494821"/>
                </a:lnTo>
                <a:lnTo>
                  <a:pt x="0" y="137538"/>
                </a:lnTo>
                <a:lnTo>
                  <a:pt x="363424" y="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hueOff val="0"/>
              <a:satOff val="0"/>
              <a:lumOff val="0"/>
              <a:alphaOff val="0"/>
            </a:schemeClr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8543" tIns="113267" rIns="98543" bIns="113267" numCol="1" spcCol="127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 defTabSz="1555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3500" kern="1200"/>
          </a:p>
        </p:txBody>
      </p:sp>
      <p:sp>
        <p:nvSpPr>
          <p:cNvPr id="136" name="Freeform 135"/>
          <p:cNvSpPr/>
          <p:nvPr/>
        </p:nvSpPr>
        <p:spPr>
          <a:xfrm>
            <a:off x="5391445" y="2574559"/>
            <a:ext cx="138402" cy="159083"/>
          </a:xfrm>
          <a:custGeom>
            <a:avLst/>
            <a:gdLst>
              <a:gd name="connsiteX0" fmla="*/ 0 w 726849"/>
              <a:gd name="connsiteY0" fmla="*/ 316180 h 632359"/>
              <a:gd name="connsiteX1" fmla="*/ 158090 w 726849"/>
              <a:gd name="connsiteY1" fmla="*/ 0 h 632359"/>
              <a:gd name="connsiteX2" fmla="*/ 568759 w 726849"/>
              <a:gd name="connsiteY2" fmla="*/ 0 h 632359"/>
              <a:gd name="connsiteX3" fmla="*/ 726849 w 726849"/>
              <a:gd name="connsiteY3" fmla="*/ 316180 h 632359"/>
              <a:gd name="connsiteX4" fmla="*/ 568759 w 726849"/>
              <a:gd name="connsiteY4" fmla="*/ 632359 h 632359"/>
              <a:gd name="connsiteX5" fmla="*/ 158090 w 726849"/>
              <a:gd name="connsiteY5" fmla="*/ 632359 h 632359"/>
              <a:gd name="connsiteX6" fmla="*/ 0 w 726849"/>
              <a:gd name="connsiteY6" fmla="*/ 316180 h 632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26849" h="632359">
                <a:moveTo>
                  <a:pt x="363424" y="0"/>
                </a:moveTo>
                <a:lnTo>
                  <a:pt x="726849" y="137538"/>
                </a:lnTo>
                <a:lnTo>
                  <a:pt x="726849" y="494821"/>
                </a:lnTo>
                <a:lnTo>
                  <a:pt x="363424" y="632359"/>
                </a:lnTo>
                <a:lnTo>
                  <a:pt x="0" y="494821"/>
                </a:lnTo>
                <a:lnTo>
                  <a:pt x="0" y="137538"/>
                </a:lnTo>
                <a:lnTo>
                  <a:pt x="363424" y="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hueOff val="0"/>
              <a:satOff val="0"/>
              <a:lumOff val="0"/>
              <a:alphaOff val="0"/>
            </a:schemeClr>
          </a:fillRef>
          <a:effectRef idx="0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40453" tIns="155177" rIns="140453" bIns="155177" numCol="1" spcCol="127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1100" kern="1200" dirty="0"/>
          </a:p>
        </p:txBody>
      </p:sp>
      <p:sp>
        <p:nvSpPr>
          <p:cNvPr id="137" name="Freeform 136"/>
          <p:cNvSpPr/>
          <p:nvPr/>
        </p:nvSpPr>
        <p:spPr>
          <a:xfrm>
            <a:off x="5540920" y="2574559"/>
            <a:ext cx="138402" cy="159083"/>
          </a:xfrm>
          <a:custGeom>
            <a:avLst/>
            <a:gdLst>
              <a:gd name="connsiteX0" fmla="*/ 0 w 726849"/>
              <a:gd name="connsiteY0" fmla="*/ 316180 h 632359"/>
              <a:gd name="connsiteX1" fmla="*/ 158090 w 726849"/>
              <a:gd name="connsiteY1" fmla="*/ 0 h 632359"/>
              <a:gd name="connsiteX2" fmla="*/ 568759 w 726849"/>
              <a:gd name="connsiteY2" fmla="*/ 0 h 632359"/>
              <a:gd name="connsiteX3" fmla="*/ 726849 w 726849"/>
              <a:gd name="connsiteY3" fmla="*/ 316180 h 632359"/>
              <a:gd name="connsiteX4" fmla="*/ 568759 w 726849"/>
              <a:gd name="connsiteY4" fmla="*/ 632359 h 632359"/>
              <a:gd name="connsiteX5" fmla="*/ 158090 w 726849"/>
              <a:gd name="connsiteY5" fmla="*/ 632359 h 632359"/>
              <a:gd name="connsiteX6" fmla="*/ 0 w 726849"/>
              <a:gd name="connsiteY6" fmla="*/ 316180 h 632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26849" h="632359">
                <a:moveTo>
                  <a:pt x="363424" y="0"/>
                </a:moveTo>
                <a:lnTo>
                  <a:pt x="726849" y="137538"/>
                </a:lnTo>
                <a:lnTo>
                  <a:pt x="726849" y="494821"/>
                </a:lnTo>
                <a:lnTo>
                  <a:pt x="363424" y="632359"/>
                </a:lnTo>
                <a:lnTo>
                  <a:pt x="0" y="494821"/>
                </a:lnTo>
                <a:lnTo>
                  <a:pt x="0" y="137538"/>
                </a:lnTo>
                <a:lnTo>
                  <a:pt x="363424" y="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hueOff val="0"/>
              <a:satOff val="0"/>
              <a:lumOff val="0"/>
              <a:alphaOff val="0"/>
            </a:schemeClr>
          </a:fillRef>
          <a:effectRef idx="0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8543" tIns="113267" rIns="98543" bIns="113267" numCol="1" spcCol="127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 defTabSz="1555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3500" kern="1200"/>
          </a:p>
        </p:txBody>
      </p:sp>
      <p:sp>
        <p:nvSpPr>
          <p:cNvPr id="138" name="Freeform 137"/>
          <p:cNvSpPr/>
          <p:nvPr/>
        </p:nvSpPr>
        <p:spPr>
          <a:xfrm>
            <a:off x="5466469" y="2709589"/>
            <a:ext cx="138403" cy="159083"/>
          </a:xfrm>
          <a:custGeom>
            <a:avLst/>
            <a:gdLst>
              <a:gd name="connsiteX0" fmla="*/ 0 w 726849"/>
              <a:gd name="connsiteY0" fmla="*/ 316180 h 632359"/>
              <a:gd name="connsiteX1" fmla="*/ 158090 w 726849"/>
              <a:gd name="connsiteY1" fmla="*/ 0 h 632359"/>
              <a:gd name="connsiteX2" fmla="*/ 568759 w 726849"/>
              <a:gd name="connsiteY2" fmla="*/ 0 h 632359"/>
              <a:gd name="connsiteX3" fmla="*/ 726849 w 726849"/>
              <a:gd name="connsiteY3" fmla="*/ 316180 h 632359"/>
              <a:gd name="connsiteX4" fmla="*/ 568759 w 726849"/>
              <a:gd name="connsiteY4" fmla="*/ 632359 h 632359"/>
              <a:gd name="connsiteX5" fmla="*/ 158090 w 726849"/>
              <a:gd name="connsiteY5" fmla="*/ 632359 h 632359"/>
              <a:gd name="connsiteX6" fmla="*/ 0 w 726849"/>
              <a:gd name="connsiteY6" fmla="*/ 316180 h 632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26849" h="632359">
                <a:moveTo>
                  <a:pt x="363424" y="0"/>
                </a:moveTo>
                <a:lnTo>
                  <a:pt x="726849" y="137538"/>
                </a:lnTo>
                <a:lnTo>
                  <a:pt x="726849" y="494821"/>
                </a:lnTo>
                <a:lnTo>
                  <a:pt x="363424" y="632359"/>
                </a:lnTo>
                <a:lnTo>
                  <a:pt x="0" y="494821"/>
                </a:lnTo>
                <a:lnTo>
                  <a:pt x="0" y="137538"/>
                </a:lnTo>
                <a:lnTo>
                  <a:pt x="363424" y="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6">
              <a:hueOff val="0"/>
              <a:satOff val="0"/>
              <a:lumOff val="0"/>
              <a:alphaOff val="0"/>
            </a:schemeClr>
          </a:fillRef>
          <a:effectRef idx="0">
            <a:schemeClr val="accent6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40453" tIns="155177" rIns="140454" bIns="155178" numCol="1" spcCol="127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1100" kern="1200" dirty="0"/>
          </a:p>
        </p:txBody>
      </p:sp>
      <p:sp>
        <p:nvSpPr>
          <p:cNvPr id="139" name="Freeform 138"/>
          <p:cNvSpPr/>
          <p:nvPr/>
        </p:nvSpPr>
        <p:spPr>
          <a:xfrm>
            <a:off x="5316994" y="2709589"/>
            <a:ext cx="138402" cy="159083"/>
          </a:xfrm>
          <a:custGeom>
            <a:avLst/>
            <a:gdLst>
              <a:gd name="connsiteX0" fmla="*/ 0 w 726849"/>
              <a:gd name="connsiteY0" fmla="*/ 316180 h 632359"/>
              <a:gd name="connsiteX1" fmla="*/ 158090 w 726849"/>
              <a:gd name="connsiteY1" fmla="*/ 0 h 632359"/>
              <a:gd name="connsiteX2" fmla="*/ 568759 w 726849"/>
              <a:gd name="connsiteY2" fmla="*/ 0 h 632359"/>
              <a:gd name="connsiteX3" fmla="*/ 726849 w 726849"/>
              <a:gd name="connsiteY3" fmla="*/ 316180 h 632359"/>
              <a:gd name="connsiteX4" fmla="*/ 568759 w 726849"/>
              <a:gd name="connsiteY4" fmla="*/ 632359 h 632359"/>
              <a:gd name="connsiteX5" fmla="*/ 158090 w 726849"/>
              <a:gd name="connsiteY5" fmla="*/ 632359 h 632359"/>
              <a:gd name="connsiteX6" fmla="*/ 0 w 726849"/>
              <a:gd name="connsiteY6" fmla="*/ 316180 h 632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26849" h="632359">
                <a:moveTo>
                  <a:pt x="363424" y="0"/>
                </a:moveTo>
                <a:lnTo>
                  <a:pt x="726849" y="137538"/>
                </a:lnTo>
                <a:lnTo>
                  <a:pt x="726849" y="494821"/>
                </a:lnTo>
                <a:lnTo>
                  <a:pt x="363424" y="632359"/>
                </a:lnTo>
                <a:lnTo>
                  <a:pt x="0" y="494821"/>
                </a:lnTo>
                <a:lnTo>
                  <a:pt x="0" y="137538"/>
                </a:lnTo>
                <a:lnTo>
                  <a:pt x="363424" y="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hueOff val="0"/>
              <a:satOff val="0"/>
              <a:lumOff val="0"/>
              <a:alphaOff val="0"/>
            </a:schemeClr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8543" tIns="113267" rIns="98543" bIns="113267" numCol="1" spcCol="127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 defTabSz="1555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3500" kern="1200"/>
          </a:p>
        </p:txBody>
      </p:sp>
      <p:grpSp>
        <p:nvGrpSpPr>
          <p:cNvPr id="142" name="Group 141"/>
          <p:cNvGrpSpPr/>
          <p:nvPr/>
        </p:nvGrpSpPr>
        <p:grpSpPr>
          <a:xfrm>
            <a:off x="7188365" y="3481179"/>
            <a:ext cx="1511642" cy="1511642"/>
            <a:chOff x="5104426" y="2860581"/>
            <a:chExt cx="1511642" cy="1511642"/>
          </a:xfrm>
        </p:grpSpPr>
        <p:cxnSp>
          <p:nvCxnSpPr>
            <p:cNvPr id="143" name="Straight Arrow Connector 142"/>
            <p:cNvCxnSpPr/>
            <p:nvPr/>
          </p:nvCxnSpPr>
          <p:spPr>
            <a:xfrm rot="2700000">
              <a:off x="5104426" y="3615142"/>
              <a:ext cx="1511642" cy="2519"/>
            </a:xfrm>
            <a:prstGeom prst="straightConnector1">
              <a:avLst/>
            </a:prstGeom>
            <a:ln w="69850">
              <a:headEnd type="triangle"/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44" name="Straight Arrow Connector 143"/>
            <p:cNvCxnSpPr/>
            <p:nvPr/>
          </p:nvCxnSpPr>
          <p:spPr>
            <a:xfrm rot="-2700000">
              <a:off x="5104426" y="3615142"/>
              <a:ext cx="1511642" cy="2519"/>
            </a:xfrm>
            <a:prstGeom prst="straightConnector1">
              <a:avLst/>
            </a:prstGeom>
            <a:ln w="69850">
              <a:headEnd type="triangle"/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66" name="Rectangle 65"/>
          <p:cNvSpPr/>
          <p:nvPr/>
        </p:nvSpPr>
        <p:spPr>
          <a:xfrm>
            <a:off x="11007292" y="6140789"/>
            <a:ext cx="121533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800" dirty="0">
                <a:solidFill>
                  <a:schemeClr val="bg1">
                    <a:lumMod val="85000"/>
                  </a:schemeClr>
                </a:solidFill>
                <a:latin typeface="+mj-lt"/>
              </a:rPr>
              <a:t>© Docker</a:t>
            </a:r>
          </a:p>
        </p:txBody>
      </p:sp>
    </p:spTree>
    <p:extLst>
      <p:ext uri="{BB962C8B-B14F-4D97-AF65-F5344CB8AC3E}">
        <p14:creationId xmlns:p14="http://schemas.microsoft.com/office/powerpoint/2010/main" val="12908807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/>
        </p:nvGrpSpPr>
        <p:grpSpPr>
          <a:xfrm>
            <a:off x="4466756" y="1287914"/>
            <a:ext cx="7651449" cy="4073183"/>
            <a:chOff x="4466756" y="1287914"/>
            <a:chExt cx="7651449" cy="4073183"/>
          </a:xfrm>
        </p:grpSpPr>
        <p:sp>
          <p:nvSpPr>
            <p:cNvPr id="4" name="Rounded Rectangular Callout 3"/>
            <p:cNvSpPr/>
            <p:nvPr/>
          </p:nvSpPr>
          <p:spPr>
            <a:xfrm>
              <a:off x="4466756" y="1287914"/>
              <a:ext cx="7651449" cy="2589196"/>
            </a:xfrm>
            <a:prstGeom prst="wedgeRoundRectCallout">
              <a:avLst>
                <a:gd name="adj1" fmla="val 34895"/>
                <a:gd name="adj2" fmla="val 84062"/>
                <a:gd name="adj3" fmla="val 16667"/>
              </a:avLst>
            </a:prstGeom>
            <a:noFill/>
            <a:ln w="142875" cap="flat">
              <a:solidFill>
                <a:srgbClr val="3399FF"/>
              </a:solidFill>
              <a:round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3" name="Rectangle 2"/>
            <p:cNvSpPr/>
            <p:nvPr/>
          </p:nvSpPr>
          <p:spPr>
            <a:xfrm>
              <a:off x="4563008" y="1428350"/>
              <a:ext cx="7458945" cy="230832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3600" dirty="0" smtClean="0">
                  <a:solidFill>
                    <a:schemeClr val="bg1">
                      <a:lumMod val="85000"/>
                    </a:schemeClr>
                  </a:solidFill>
                  <a:latin typeface="Segoe UI Semibold" panose="020B0702040204020203" pitchFamily="34" charset="0"/>
                  <a:ea typeface="Calibri" panose="020F0502020204030204" pitchFamily="34" charset="0"/>
                  <a:cs typeface="Segoe UI Semibold" panose="020B0702040204020203" pitchFamily="34" charset="0"/>
                </a:rPr>
                <a:t>“Docker </a:t>
              </a:r>
              <a:r>
                <a:rPr lang="en-US" sz="3600" dirty="0">
                  <a:solidFill>
                    <a:schemeClr val="bg1">
                      <a:lumMod val="85000"/>
                    </a:schemeClr>
                  </a:solidFill>
                  <a:latin typeface="Segoe UI Semibold" panose="020B0702040204020203" pitchFamily="34" charset="0"/>
                  <a:ea typeface="Calibri" panose="020F0502020204030204" pitchFamily="34" charset="0"/>
                  <a:cs typeface="Segoe UI Semibold" panose="020B0702040204020203" pitchFamily="34" charset="0"/>
                </a:rPr>
                <a:t>allows you to package an application with all of its dependencies into a standardized unit for software development</a:t>
              </a:r>
              <a:r>
                <a:rPr lang="en-US" sz="3600" dirty="0" smtClean="0">
                  <a:solidFill>
                    <a:schemeClr val="bg1">
                      <a:lumMod val="85000"/>
                    </a:schemeClr>
                  </a:solidFill>
                  <a:latin typeface="Segoe UI Semibold" panose="020B0702040204020203" pitchFamily="34" charset="0"/>
                  <a:ea typeface="Calibri" panose="020F0502020204030204" pitchFamily="34" charset="0"/>
                  <a:cs typeface="Segoe UI Semibold" panose="020B0702040204020203" pitchFamily="34" charset="0"/>
                </a:rPr>
                <a:t>.”</a:t>
              </a:r>
              <a:endParaRPr lang="en-US" sz="3200" dirty="0">
                <a:solidFill>
                  <a:schemeClr val="bg1">
                    <a:lumMod val="8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5" name="TextBox 4"/>
            <p:cNvSpPr txBox="1"/>
            <p:nvPr/>
          </p:nvSpPr>
          <p:spPr>
            <a:xfrm>
              <a:off x="10222029" y="4899432"/>
              <a:ext cx="179992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nl-BE" sz="2400" dirty="0" smtClean="0">
                  <a:solidFill>
                    <a:schemeClr val="bg1">
                      <a:lumMod val="85000"/>
                    </a:schemeClr>
                  </a:solidFill>
                </a:rPr>
                <a:t>docker.com</a:t>
              </a:r>
              <a:endParaRPr lang="en-US" sz="2400" dirty="0">
                <a:solidFill>
                  <a:schemeClr val="bg1">
                    <a:lumMod val="85000"/>
                  </a:schemeClr>
                </a:solidFill>
              </a:endParaRPr>
            </a:p>
          </p:txBody>
        </p:sp>
      </p:grpSp>
      <p:sp>
        <p:nvSpPr>
          <p:cNvPr id="8" name="Text Placeholder 1"/>
          <p:cNvSpPr txBox="1">
            <a:spLocks/>
          </p:cNvSpPr>
          <p:nvPr/>
        </p:nvSpPr>
        <p:spPr>
          <a:xfrm>
            <a:off x="540000" y="576000"/>
            <a:ext cx="3338981" cy="156752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555132" rtl="0" eaLnBrk="1" latinLnBrk="0" hangingPunct="1">
              <a:spcBef>
                <a:spcPts val="0"/>
              </a:spcBef>
              <a:spcAft>
                <a:spcPts val="1200"/>
              </a:spcAft>
              <a:buFont typeface="Arial"/>
              <a:buNone/>
              <a:defRPr sz="2200" b="0" kern="1200">
                <a:solidFill>
                  <a:schemeClr val="bg1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2pPr marL="0" indent="0" algn="l" defTabSz="555132" rtl="0" eaLnBrk="1" latinLnBrk="0" hangingPunct="1">
              <a:spcBef>
                <a:spcPts val="600"/>
              </a:spcBef>
              <a:buFont typeface="Arial"/>
              <a:buNone/>
              <a:defRPr sz="22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10265" indent="0" algn="l" defTabSz="555132" rtl="0" eaLnBrk="1" latinLnBrk="0" hangingPunct="1">
              <a:spcBef>
                <a:spcPct val="20000"/>
              </a:spcBef>
              <a:buFont typeface="Arial"/>
              <a:buNone/>
              <a:defRPr sz="29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65397" indent="0" algn="l" defTabSz="555132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220529" indent="0" algn="l" defTabSz="555132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3053227" indent="-277566" algn="l" defTabSz="555132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8360" indent="-277566" algn="l" defTabSz="555132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63492" indent="-277566" algn="l" defTabSz="555132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18624" indent="-277566" algn="l" defTabSz="555132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BE" sz="4000" dirty="0" err="1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Along</a:t>
            </a:r>
            <a:r>
              <a:rPr lang="nl-BE" sz="40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nl-BE" sz="4000" dirty="0" err="1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came</a:t>
            </a:r>
            <a:r>
              <a:rPr lang="nl-BE" sz="40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 Docker</a:t>
            </a:r>
            <a:endParaRPr lang="en-US" sz="40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1878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/>
        </p:nvGrpSpPr>
        <p:grpSpPr>
          <a:xfrm>
            <a:off x="4466756" y="1287914"/>
            <a:ext cx="7651449" cy="4073183"/>
            <a:chOff x="4466756" y="1287914"/>
            <a:chExt cx="7651449" cy="4073183"/>
          </a:xfrm>
        </p:grpSpPr>
        <p:sp>
          <p:nvSpPr>
            <p:cNvPr id="4" name="Rounded Rectangular Callout 3"/>
            <p:cNvSpPr/>
            <p:nvPr/>
          </p:nvSpPr>
          <p:spPr>
            <a:xfrm>
              <a:off x="4466756" y="1287914"/>
              <a:ext cx="7651449" cy="2589196"/>
            </a:xfrm>
            <a:prstGeom prst="wedgeRoundRectCallout">
              <a:avLst>
                <a:gd name="adj1" fmla="val 34895"/>
                <a:gd name="adj2" fmla="val 84062"/>
                <a:gd name="adj3" fmla="val 16667"/>
              </a:avLst>
            </a:prstGeom>
            <a:noFill/>
            <a:ln w="142875" cap="flat">
              <a:solidFill>
                <a:srgbClr val="3399FF"/>
              </a:solidFill>
              <a:round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3" name="Rectangle 2"/>
            <p:cNvSpPr/>
            <p:nvPr/>
          </p:nvSpPr>
          <p:spPr>
            <a:xfrm>
              <a:off x="4563008" y="1428350"/>
              <a:ext cx="7458945" cy="230832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3600" dirty="0" smtClean="0">
                  <a:solidFill>
                    <a:schemeClr val="bg1">
                      <a:lumMod val="85000"/>
                    </a:schemeClr>
                  </a:solidFill>
                  <a:latin typeface="Segoe UI Semibold" panose="020B0702040204020203" pitchFamily="34" charset="0"/>
                  <a:ea typeface="Calibri" panose="020F0502020204030204" pitchFamily="34" charset="0"/>
                  <a:cs typeface="Segoe UI Semibold" panose="020B0702040204020203" pitchFamily="34" charset="0"/>
                </a:rPr>
                <a:t>“Docker </a:t>
              </a:r>
              <a:r>
                <a:rPr lang="en-US" sz="3600" dirty="0">
                  <a:solidFill>
                    <a:schemeClr val="bg1">
                      <a:lumMod val="85000"/>
                    </a:schemeClr>
                  </a:solidFill>
                  <a:latin typeface="Segoe UI Semibold" panose="020B0702040204020203" pitchFamily="34" charset="0"/>
                  <a:ea typeface="Calibri" panose="020F0502020204030204" pitchFamily="34" charset="0"/>
                  <a:cs typeface="Segoe UI Semibold" panose="020B0702040204020203" pitchFamily="34" charset="0"/>
                </a:rPr>
                <a:t>allows you to </a:t>
              </a:r>
              <a:r>
                <a:rPr lang="en-US" sz="3600" dirty="0">
                  <a:solidFill>
                    <a:srgbClr val="3399FF"/>
                  </a:solidFill>
                  <a:latin typeface="Segoe UI Semibold" panose="020B0702040204020203" pitchFamily="34" charset="0"/>
                  <a:ea typeface="Calibri" panose="020F0502020204030204" pitchFamily="34" charset="0"/>
                  <a:cs typeface="Segoe UI Semibold" panose="020B0702040204020203" pitchFamily="34" charset="0"/>
                </a:rPr>
                <a:t>package an application with all of its dependencies</a:t>
              </a:r>
              <a:r>
                <a:rPr lang="en-US" sz="3600" dirty="0">
                  <a:latin typeface="Segoe UI Semibold" panose="020B0702040204020203" pitchFamily="34" charset="0"/>
                  <a:ea typeface="Calibri" panose="020F0502020204030204" pitchFamily="34" charset="0"/>
                  <a:cs typeface="Segoe UI Semibold" panose="020B0702040204020203" pitchFamily="34" charset="0"/>
                </a:rPr>
                <a:t> </a:t>
              </a:r>
              <a:r>
                <a:rPr lang="en-US" sz="3600" dirty="0">
                  <a:solidFill>
                    <a:schemeClr val="bg1">
                      <a:lumMod val="85000"/>
                    </a:schemeClr>
                  </a:solidFill>
                  <a:latin typeface="Segoe UI Semibold" panose="020B0702040204020203" pitchFamily="34" charset="0"/>
                  <a:ea typeface="Calibri" panose="020F0502020204030204" pitchFamily="34" charset="0"/>
                  <a:cs typeface="Segoe UI Semibold" panose="020B0702040204020203" pitchFamily="34" charset="0"/>
                </a:rPr>
                <a:t>into a standardized unit for software development</a:t>
              </a:r>
              <a:r>
                <a:rPr lang="en-US" sz="3600" dirty="0" smtClean="0">
                  <a:solidFill>
                    <a:schemeClr val="bg1">
                      <a:lumMod val="85000"/>
                    </a:schemeClr>
                  </a:solidFill>
                  <a:latin typeface="Segoe UI Semibold" panose="020B0702040204020203" pitchFamily="34" charset="0"/>
                  <a:ea typeface="Calibri" panose="020F0502020204030204" pitchFamily="34" charset="0"/>
                  <a:cs typeface="Segoe UI Semibold" panose="020B0702040204020203" pitchFamily="34" charset="0"/>
                </a:rPr>
                <a:t>.”</a:t>
              </a:r>
              <a:endParaRPr lang="en-US" sz="3200" dirty="0">
                <a:solidFill>
                  <a:schemeClr val="bg1">
                    <a:lumMod val="8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5" name="TextBox 4"/>
            <p:cNvSpPr txBox="1"/>
            <p:nvPr/>
          </p:nvSpPr>
          <p:spPr>
            <a:xfrm>
              <a:off x="10222029" y="4899432"/>
              <a:ext cx="179992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nl-BE" sz="2400" dirty="0" smtClean="0">
                  <a:solidFill>
                    <a:schemeClr val="bg1">
                      <a:lumMod val="85000"/>
                    </a:schemeClr>
                  </a:solidFill>
                </a:rPr>
                <a:t>docker.com</a:t>
              </a:r>
              <a:endParaRPr lang="en-US" sz="2400" dirty="0">
                <a:solidFill>
                  <a:schemeClr val="bg1">
                    <a:lumMod val="85000"/>
                  </a:schemeClr>
                </a:solidFill>
              </a:endParaRPr>
            </a:p>
          </p:txBody>
        </p:sp>
      </p:grpSp>
      <p:sp>
        <p:nvSpPr>
          <p:cNvPr id="8" name="Text Placeholder 1"/>
          <p:cNvSpPr txBox="1">
            <a:spLocks/>
          </p:cNvSpPr>
          <p:nvPr/>
        </p:nvSpPr>
        <p:spPr>
          <a:xfrm>
            <a:off x="540000" y="576000"/>
            <a:ext cx="3338981" cy="156752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555132" rtl="0" eaLnBrk="1" latinLnBrk="0" hangingPunct="1">
              <a:spcBef>
                <a:spcPts val="0"/>
              </a:spcBef>
              <a:spcAft>
                <a:spcPts val="1200"/>
              </a:spcAft>
              <a:buFont typeface="Arial"/>
              <a:buNone/>
              <a:defRPr sz="2200" b="0" kern="1200">
                <a:solidFill>
                  <a:schemeClr val="bg1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2pPr marL="0" indent="0" algn="l" defTabSz="555132" rtl="0" eaLnBrk="1" latinLnBrk="0" hangingPunct="1">
              <a:spcBef>
                <a:spcPts val="600"/>
              </a:spcBef>
              <a:buFont typeface="Arial"/>
              <a:buNone/>
              <a:defRPr sz="22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10265" indent="0" algn="l" defTabSz="555132" rtl="0" eaLnBrk="1" latinLnBrk="0" hangingPunct="1">
              <a:spcBef>
                <a:spcPct val="20000"/>
              </a:spcBef>
              <a:buFont typeface="Arial"/>
              <a:buNone/>
              <a:defRPr sz="29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65397" indent="0" algn="l" defTabSz="555132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220529" indent="0" algn="l" defTabSz="555132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3053227" indent="-277566" algn="l" defTabSz="555132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8360" indent="-277566" algn="l" defTabSz="555132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63492" indent="-277566" algn="l" defTabSz="555132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18624" indent="-277566" algn="l" defTabSz="555132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BE" sz="4000" dirty="0" err="1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Along</a:t>
            </a:r>
            <a:r>
              <a:rPr lang="nl-BE" sz="40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nl-BE" sz="4000" dirty="0" err="1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came</a:t>
            </a:r>
            <a:r>
              <a:rPr lang="nl-BE" sz="40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 Docker</a:t>
            </a:r>
            <a:endParaRPr lang="en-US" sz="40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30700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/>
        </p:nvGrpSpPr>
        <p:grpSpPr>
          <a:xfrm>
            <a:off x="4466756" y="1287914"/>
            <a:ext cx="7651449" cy="4073183"/>
            <a:chOff x="4466756" y="1287914"/>
            <a:chExt cx="7651449" cy="4073183"/>
          </a:xfrm>
        </p:grpSpPr>
        <p:sp>
          <p:nvSpPr>
            <p:cNvPr id="4" name="Rounded Rectangular Callout 3"/>
            <p:cNvSpPr/>
            <p:nvPr/>
          </p:nvSpPr>
          <p:spPr>
            <a:xfrm>
              <a:off x="4466756" y="1287914"/>
              <a:ext cx="7651449" cy="2589196"/>
            </a:xfrm>
            <a:prstGeom prst="wedgeRoundRectCallout">
              <a:avLst>
                <a:gd name="adj1" fmla="val 34895"/>
                <a:gd name="adj2" fmla="val 84062"/>
                <a:gd name="adj3" fmla="val 16667"/>
              </a:avLst>
            </a:prstGeom>
            <a:noFill/>
            <a:ln w="142875" cap="flat">
              <a:solidFill>
                <a:srgbClr val="3399FF"/>
              </a:solidFill>
              <a:round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3" name="Rectangle 2"/>
            <p:cNvSpPr/>
            <p:nvPr/>
          </p:nvSpPr>
          <p:spPr>
            <a:xfrm>
              <a:off x="4563008" y="1428350"/>
              <a:ext cx="7458945" cy="230832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3600" dirty="0" smtClean="0">
                  <a:solidFill>
                    <a:schemeClr val="bg1">
                      <a:lumMod val="85000"/>
                    </a:schemeClr>
                  </a:solidFill>
                  <a:latin typeface="Segoe UI Semibold" panose="020B0702040204020203" pitchFamily="34" charset="0"/>
                  <a:ea typeface="Calibri" panose="020F0502020204030204" pitchFamily="34" charset="0"/>
                  <a:cs typeface="Segoe UI Semibold" panose="020B0702040204020203" pitchFamily="34" charset="0"/>
                </a:rPr>
                <a:t>“Docker </a:t>
              </a:r>
              <a:r>
                <a:rPr lang="en-US" sz="3600" dirty="0">
                  <a:solidFill>
                    <a:schemeClr val="bg1">
                      <a:lumMod val="85000"/>
                    </a:schemeClr>
                  </a:solidFill>
                  <a:latin typeface="Segoe UI Semibold" panose="020B0702040204020203" pitchFamily="34" charset="0"/>
                  <a:ea typeface="Calibri" panose="020F0502020204030204" pitchFamily="34" charset="0"/>
                  <a:cs typeface="Segoe UI Semibold" panose="020B0702040204020203" pitchFamily="34" charset="0"/>
                </a:rPr>
                <a:t>allows you to package an application with all of its dependencies into a </a:t>
              </a:r>
              <a:r>
                <a:rPr lang="en-US" sz="3600" dirty="0">
                  <a:solidFill>
                    <a:srgbClr val="3399FF"/>
                  </a:solidFill>
                  <a:latin typeface="Segoe UI Semibold" panose="020B0702040204020203" pitchFamily="34" charset="0"/>
                  <a:ea typeface="Calibri" panose="020F0502020204030204" pitchFamily="34" charset="0"/>
                  <a:cs typeface="Segoe UI Semibold" panose="020B0702040204020203" pitchFamily="34" charset="0"/>
                </a:rPr>
                <a:t>standardized unit</a:t>
              </a:r>
              <a:r>
                <a:rPr lang="en-US" sz="3600" dirty="0">
                  <a:solidFill>
                    <a:schemeClr val="bg1">
                      <a:lumMod val="85000"/>
                    </a:schemeClr>
                  </a:solidFill>
                  <a:latin typeface="Segoe UI Semibold" panose="020B0702040204020203" pitchFamily="34" charset="0"/>
                  <a:ea typeface="Calibri" panose="020F0502020204030204" pitchFamily="34" charset="0"/>
                  <a:cs typeface="Segoe UI Semibold" panose="020B0702040204020203" pitchFamily="34" charset="0"/>
                </a:rPr>
                <a:t> for software development</a:t>
              </a:r>
              <a:r>
                <a:rPr lang="en-US" sz="3600" dirty="0" smtClean="0">
                  <a:solidFill>
                    <a:schemeClr val="bg1">
                      <a:lumMod val="85000"/>
                    </a:schemeClr>
                  </a:solidFill>
                  <a:latin typeface="Segoe UI Semibold" panose="020B0702040204020203" pitchFamily="34" charset="0"/>
                  <a:ea typeface="Calibri" panose="020F0502020204030204" pitchFamily="34" charset="0"/>
                  <a:cs typeface="Segoe UI Semibold" panose="020B0702040204020203" pitchFamily="34" charset="0"/>
                </a:rPr>
                <a:t>.”</a:t>
              </a:r>
              <a:endParaRPr lang="en-US" sz="3200" dirty="0">
                <a:solidFill>
                  <a:schemeClr val="bg1">
                    <a:lumMod val="8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5" name="TextBox 4"/>
            <p:cNvSpPr txBox="1"/>
            <p:nvPr/>
          </p:nvSpPr>
          <p:spPr>
            <a:xfrm>
              <a:off x="10222029" y="4899432"/>
              <a:ext cx="179992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nl-BE" sz="2400" dirty="0" smtClean="0">
                  <a:solidFill>
                    <a:schemeClr val="bg1">
                      <a:lumMod val="85000"/>
                    </a:schemeClr>
                  </a:solidFill>
                </a:rPr>
                <a:t>docker.com</a:t>
              </a:r>
              <a:endParaRPr lang="en-US" sz="2400" dirty="0">
                <a:solidFill>
                  <a:schemeClr val="bg1">
                    <a:lumMod val="85000"/>
                  </a:schemeClr>
                </a:solidFill>
              </a:endParaRPr>
            </a:p>
          </p:txBody>
        </p:sp>
      </p:grpSp>
      <p:sp>
        <p:nvSpPr>
          <p:cNvPr id="8" name="Text Placeholder 1"/>
          <p:cNvSpPr txBox="1">
            <a:spLocks/>
          </p:cNvSpPr>
          <p:nvPr/>
        </p:nvSpPr>
        <p:spPr>
          <a:xfrm>
            <a:off x="540000" y="576000"/>
            <a:ext cx="3338981" cy="156752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555132" rtl="0" eaLnBrk="1" latinLnBrk="0" hangingPunct="1">
              <a:spcBef>
                <a:spcPts val="0"/>
              </a:spcBef>
              <a:spcAft>
                <a:spcPts val="1200"/>
              </a:spcAft>
              <a:buFont typeface="Arial"/>
              <a:buNone/>
              <a:defRPr sz="2200" b="0" kern="1200">
                <a:solidFill>
                  <a:schemeClr val="bg1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2pPr marL="0" indent="0" algn="l" defTabSz="555132" rtl="0" eaLnBrk="1" latinLnBrk="0" hangingPunct="1">
              <a:spcBef>
                <a:spcPts val="600"/>
              </a:spcBef>
              <a:buFont typeface="Arial"/>
              <a:buNone/>
              <a:defRPr sz="22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10265" indent="0" algn="l" defTabSz="555132" rtl="0" eaLnBrk="1" latinLnBrk="0" hangingPunct="1">
              <a:spcBef>
                <a:spcPct val="20000"/>
              </a:spcBef>
              <a:buFont typeface="Arial"/>
              <a:buNone/>
              <a:defRPr sz="29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65397" indent="0" algn="l" defTabSz="555132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220529" indent="0" algn="l" defTabSz="555132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3053227" indent="-277566" algn="l" defTabSz="555132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8360" indent="-277566" algn="l" defTabSz="555132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63492" indent="-277566" algn="l" defTabSz="555132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18624" indent="-277566" algn="l" defTabSz="555132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BE" sz="4000" dirty="0" err="1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Along</a:t>
            </a:r>
            <a:r>
              <a:rPr lang="nl-BE" sz="40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nl-BE" sz="4000" dirty="0" err="1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came</a:t>
            </a:r>
            <a:r>
              <a:rPr lang="nl-BE" sz="40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 Docker</a:t>
            </a:r>
            <a:endParaRPr lang="en-US" sz="40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07563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5">
      <a:dk1>
        <a:srgbClr val="3F3F3F"/>
      </a:dk1>
      <a:lt1>
        <a:sysClr val="window" lastClr="FFFFFF"/>
      </a:lt1>
      <a:dk2>
        <a:srgbClr val="FFB900"/>
      </a:dk2>
      <a:lt2>
        <a:srgbClr val="FF8C00"/>
      </a:lt2>
      <a:accent1>
        <a:srgbClr val="5C005C"/>
      </a:accent1>
      <a:accent2>
        <a:srgbClr val="B4009E"/>
      </a:accent2>
      <a:accent3>
        <a:srgbClr val="FFF100"/>
      </a:accent3>
      <a:accent4>
        <a:srgbClr val="D83B01"/>
      </a:accent4>
      <a:accent5>
        <a:srgbClr val="00B050"/>
      </a:accent5>
      <a:accent6>
        <a:srgbClr val="ADD40D"/>
      </a:accent6>
      <a:hlink>
        <a:srgbClr val="B4009E"/>
      </a:hlink>
      <a:folHlink>
        <a:srgbClr val="B4009E"/>
      </a:folHlink>
    </a:clrScheme>
    <a:fontScheme name="Custom 15">
      <a:majorFont>
        <a:latin typeface="Segoe UI Bold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2D017A42350A949A2BD15159F47E007" ma:contentTypeVersion="0" ma:contentTypeDescription="Create a new document." ma:contentTypeScope="" ma:versionID="2be45b9c5f1d8ad635fe97ead3110c73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a803a71a1499873ec6b4e18f4c62591e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DDAD5E8F-D55A-42A5-BCEC-953CC42A9C8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F1D8F410-9775-4D89-8603-AC511EEDAC1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50B48BB-CB80-4CBF-8365-53887874A7EC}">
  <ds:schemaRefs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http://schemas.microsoft.com/office/infopath/2007/PartnerControl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5142</TotalTime>
  <Words>746</Words>
  <Application>Microsoft Office PowerPoint</Application>
  <PresentationFormat>Custom</PresentationFormat>
  <Paragraphs>194</Paragraphs>
  <Slides>36</Slides>
  <Notes>29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6</vt:i4>
      </vt:variant>
    </vt:vector>
  </HeadingPairs>
  <TitlesOfParts>
    <vt:vector size="46" baseType="lpstr">
      <vt:lpstr>Arial</vt:lpstr>
      <vt:lpstr>Calibri</vt:lpstr>
      <vt:lpstr>Courier New</vt:lpstr>
      <vt:lpstr>Gill Sans</vt:lpstr>
      <vt:lpstr>Segoe UI</vt:lpstr>
      <vt:lpstr>Segoe UI Bold</vt:lpstr>
      <vt:lpstr>Segoe UI Semibold</vt:lpstr>
      <vt:lpstr>Wingdings</vt:lpstr>
      <vt:lpstr>Office Theme</vt:lpstr>
      <vt:lpstr>think-cell Slide</vt:lpstr>
      <vt:lpstr>demystified</vt:lpstr>
      <vt:lpstr>Who am I?</vt:lpstr>
      <vt:lpstr>Who am I?</vt:lpstr>
      <vt:lpstr>PowerPoint Presentation</vt:lpstr>
      <vt:lpstr>What’s it all about?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How does it work?</vt:lpstr>
      <vt:lpstr>PowerPoint Presentation</vt:lpstr>
      <vt:lpstr>PowerPoint Presentation</vt:lpstr>
      <vt:lpstr>Containers and virtual machines …</vt:lpstr>
      <vt:lpstr>Container technology isn’t new</vt:lpstr>
      <vt:lpstr>Run anywhere?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Demo!</vt:lpstr>
      <vt:lpstr>Go explore!</vt:lpstr>
      <vt:lpstr>Go explore!</vt:lpstr>
      <vt:lpstr>And remember</vt:lpstr>
      <vt:lpstr>And remember</vt:lpstr>
      <vt:lpstr>And remember</vt:lpstr>
      <vt:lpstr>And remember</vt:lpstr>
      <vt:lpstr>PowerPoint Presentation</vt:lpstr>
      <vt:lpstr>Thank you for your time!</vt:lpstr>
    </vt:vector>
  </TitlesOfParts>
  <Company>RealDolmen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alDolmen Cloud Services Azure</dc:title>
  <dc:subject>RealDolmen Cloud Services Azure</dc:subject>
  <dc:creator>Karim.Vaes@realdolmen.com</dc:creator>
  <cp:lastModifiedBy>Steve Cleynen</cp:lastModifiedBy>
  <cp:revision>1126</cp:revision>
  <cp:lastPrinted>2014-06-10T20:30:07Z</cp:lastPrinted>
  <dcterms:created xsi:type="dcterms:W3CDTF">2014-06-06T18:08:07Z</dcterms:created>
  <dcterms:modified xsi:type="dcterms:W3CDTF">2016-02-24T21:16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2D017A42350A949A2BD15159F47E007</vt:lpwstr>
  </property>
  <property fmtid="{D5CDD505-2E9C-101B-9397-08002B2CF9AE}" pid="3" name="IsMyDocuments">
    <vt:bool>true</vt:bool>
  </property>
</Properties>
</file>